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90" r:id="rId5"/>
    <p:sldMasterId id="2147483768" r:id="rId6"/>
    <p:sldMasterId id="2147483781" r:id="rId7"/>
    <p:sldMasterId id="2147483674" r:id="rId8"/>
    <p:sldMasterId id="2147483801" r:id="rId9"/>
  </p:sldMasterIdLst>
  <p:notesMasterIdLst>
    <p:notesMasterId r:id="rId29"/>
  </p:notesMasterIdLst>
  <p:handoutMasterIdLst>
    <p:handoutMasterId r:id="rId30"/>
  </p:handoutMasterIdLst>
  <p:sldIdLst>
    <p:sldId id="259" r:id="rId10"/>
    <p:sldId id="395" r:id="rId11"/>
    <p:sldId id="402" r:id="rId12"/>
    <p:sldId id="426" r:id="rId13"/>
    <p:sldId id="498" r:id="rId14"/>
    <p:sldId id="512" r:id="rId15"/>
    <p:sldId id="513" r:id="rId16"/>
    <p:sldId id="514" r:id="rId17"/>
    <p:sldId id="515" r:id="rId18"/>
    <p:sldId id="499" r:id="rId19"/>
    <p:sldId id="467" r:id="rId20"/>
    <p:sldId id="502" r:id="rId21"/>
    <p:sldId id="503" r:id="rId22"/>
    <p:sldId id="506" r:id="rId23"/>
    <p:sldId id="508" r:id="rId24"/>
    <p:sldId id="509" r:id="rId25"/>
    <p:sldId id="504" r:id="rId26"/>
    <p:sldId id="491" r:id="rId27"/>
    <p:sldId id="266" r:id="rId28"/>
  </p:sldIdLst>
  <p:sldSz cx="9144000" cy="5143500" type="screen16x9"/>
  <p:notesSz cx="7104063" cy="10234613"/>
  <p:defaultTextStyle>
    <a:defPPr>
      <a:defRPr lang="en-US"/>
    </a:defPPr>
    <a:lvl1pPr marL="0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adas Lada" initials="GL" lastIdx="5" clrIdx="0"/>
  <p:cmAuthor id="1" name="StKadPe" initials="PK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4D4D"/>
    <a:srgbClr val="27AE60"/>
    <a:srgbClr val="BFBFBF"/>
    <a:srgbClr val="9E59BA"/>
    <a:srgbClr val="E74C3C"/>
    <a:srgbClr val="3498DB"/>
    <a:srgbClr val="2ECC71"/>
    <a:srgbClr val="D9D9D9"/>
    <a:srgbClr val="9B59B6"/>
    <a:srgbClr val="C6E6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09" autoAdjust="0"/>
    <p:restoredTop sz="86163" autoAdjust="0"/>
  </p:normalViewPr>
  <p:slideViewPr>
    <p:cSldViewPr snapToObjects="1">
      <p:cViewPr varScale="1">
        <p:scale>
          <a:sx n="131" d="100"/>
          <a:sy n="131" d="100"/>
        </p:scale>
        <p:origin x="966" y="114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Objects="1">
      <p:cViewPr varScale="1">
        <p:scale>
          <a:sx n="76" d="100"/>
          <a:sy n="76" d="100"/>
        </p:scale>
        <p:origin x="395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image" Target="../media/image19.jpg"/><Relationship Id="rId4" Type="http://schemas.openxmlformats.org/officeDocument/2006/relationships/image" Target="../media/image22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image" Target="../media/image19.jpg"/><Relationship Id="rId4" Type="http://schemas.openxmlformats.org/officeDocument/2006/relationships/image" Target="../media/image2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6FE8FE-DC04-426B-AE08-5B43F1280465}" type="doc">
      <dgm:prSet loTypeId="urn:microsoft.com/office/officeart/2005/8/layout/pList1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6F6F36B8-D481-4377-A34D-A04B6130DEAA}">
      <dgm:prSet phldrT="[Text]"/>
      <dgm:spPr/>
      <dgm:t>
        <a:bodyPr/>
        <a:lstStyle/>
        <a:p>
          <a:r>
            <a:rPr lang="cs-CZ" dirty="0" smtClean="0">
              <a:solidFill>
                <a:schemeClr val="bg1"/>
              </a:solidFill>
              <a:latin typeface="Gotham Rounded Book" pitchFamily="50" charset="-18"/>
            </a:rPr>
            <a:t>Chytrá města &amp; budovy</a:t>
          </a:r>
          <a:endParaRPr lang="cs-CZ" dirty="0">
            <a:solidFill>
              <a:schemeClr val="bg1"/>
            </a:solidFill>
            <a:latin typeface="Gotham Rounded Book" pitchFamily="50" charset="-18"/>
          </a:endParaRPr>
        </a:p>
      </dgm:t>
    </dgm:pt>
    <dgm:pt modelId="{B0832918-314E-4FBE-8BAE-C55C179BA185}" type="parTrans" cxnId="{C4506C11-0095-4AFD-BFDF-DC2BB64865CE}">
      <dgm:prSet/>
      <dgm:spPr/>
      <dgm:t>
        <a:bodyPr/>
        <a:lstStyle/>
        <a:p>
          <a:endParaRPr lang="cs-CZ"/>
        </a:p>
      </dgm:t>
    </dgm:pt>
    <dgm:pt modelId="{5EF85BF3-C200-45B2-A56B-D381E253F6C1}" type="sibTrans" cxnId="{C4506C11-0095-4AFD-BFDF-DC2BB64865CE}">
      <dgm:prSet/>
      <dgm:spPr/>
      <dgm:t>
        <a:bodyPr/>
        <a:lstStyle/>
        <a:p>
          <a:endParaRPr lang="cs-CZ"/>
        </a:p>
      </dgm:t>
    </dgm:pt>
    <dgm:pt modelId="{1373AF57-25F2-454E-B323-4A742ADCE47C}">
      <dgm:prSet phldrT="[Text]"/>
      <dgm:spPr/>
      <dgm:t>
        <a:bodyPr/>
        <a:lstStyle/>
        <a:p>
          <a:r>
            <a:rPr lang="cs-CZ" dirty="0" smtClean="0">
              <a:solidFill>
                <a:schemeClr val="bg1"/>
              </a:solidFill>
              <a:latin typeface="Gotham Rounded Book" pitchFamily="50" charset="-18"/>
            </a:rPr>
            <a:t>Energetický management</a:t>
          </a:r>
          <a:endParaRPr lang="cs-CZ" dirty="0">
            <a:solidFill>
              <a:schemeClr val="bg1"/>
            </a:solidFill>
            <a:latin typeface="Gotham Rounded Book" pitchFamily="50" charset="-18"/>
          </a:endParaRPr>
        </a:p>
      </dgm:t>
    </dgm:pt>
    <dgm:pt modelId="{C1ADB077-C0C6-4CF7-91B1-3EAAD8B65EEE}" type="parTrans" cxnId="{987E861B-40EA-42D5-B03E-EA2E2FD46258}">
      <dgm:prSet/>
      <dgm:spPr/>
      <dgm:t>
        <a:bodyPr/>
        <a:lstStyle/>
        <a:p>
          <a:endParaRPr lang="cs-CZ"/>
        </a:p>
      </dgm:t>
    </dgm:pt>
    <dgm:pt modelId="{48B8069F-3CCD-4D30-9E17-9FD7EA882FBB}" type="sibTrans" cxnId="{987E861B-40EA-42D5-B03E-EA2E2FD46258}">
      <dgm:prSet/>
      <dgm:spPr/>
      <dgm:t>
        <a:bodyPr/>
        <a:lstStyle/>
        <a:p>
          <a:endParaRPr lang="cs-CZ"/>
        </a:p>
      </dgm:t>
    </dgm:pt>
    <dgm:pt modelId="{4C88DA17-3A8F-4732-B095-406128819BAF}">
      <dgm:prSet phldrT="[Text]"/>
      <dgm:spPr/>
      <dgm:t>
        <a:bodyPr/>
        <a:lstStyle/>
        <a:p>
          <a:r>
            <a:rPr lang="cs-CZ" dirty="0" smtClean="0">
              <a:solidFill>
                <a:schemeClr val="bg1"/>
              </a:solidFill>
              <a:latin typeface="Gotham Rounded Book" pitchFamily="50" charset="-18"/>
            </a:rPr>
            <a:t>Průmysl (4.0)</a:t>
          </a:r>
          <a:endParaRPr lang="cs-CZ" dirty="0">
            <a:solidFill>
              <a:schemeClr val="bg1"/>
            </a:solidFill>
            <a:latin typeface="Gotham Rounded Book" pitchFamily="50" charset="-18"/>
          </a:endParaRPr>
        </a:p>
      </dgm:t>
    </dgm:pt>
    <dgm:pt modelId="{6DCD3AFD-7170-457A-AD77-1BAD331CA2F7}" type="parTrans" cxnId="{53FC0C57-E880-40CE-9862-9E43C5F03363}">
      <dgm:prSet/>
      <dgm:spPr/>
      <dgm:t>
        <a:bodyPr/>
        <a:lstStyle/>
        <a:p>
          <a:endParaRPr lang="cs-CZ"/>
        </a:p>
      </dgm:t>
    </dgm:pt>
    <dgm:pt modelId="{22DF7F03-91B2-4AE7-B372-65BDFE66EE00}" type="sibTrans" cxnId="{53FC0C57-E880-40CE-9862-9E43C5F03363}">
      <dgm:prSet/>
      <dgm:spPr/>
      <dgm:t>
        <a:bodyPr/>
        <a:lstStyle/>
        <a:p>
          <a:endParaRPr lang="cs-CZ"/>
        </a:p>
      </dgm:t>
    </dgm:pt>
    <dgm:pt modelId="{00EC78C2-0864-47C7-A068-7E1B6DD5FDE2}">
      <dgm:prSet phldrT="[Text]"/>
      <dgm:spPr/>
      <dgm:t>
        <a:bodyPr/>
        <a:lstStyle/>
        <a:p>
          <a:r>
            <a:rPr lang="cs-CZ" dirty="0" smtClean="0">
              <a:solidFill>
                <a:schemeClr val="bg1"/>
              </a:solidFill>
              <a:latin typeface="Gotham Rounded Book" pitchFamily="50" charset="-18"/>
            </a:rPr>
            <a:t>Životní prostředí</a:t>
          </a:r>
          <a:endParaRPr lang="cs-CZ" dirty="0">
            <a:solidFill>
              <a:schemeClr val="bg1"/>
            </a:solidFill>
            <a:latin typeface="Gotham Rounded Book" pitchFamily="50" charset="-18"/>
          </a:endParaRPr>
        </a:p>
      </dgm:t>
    </dgm:pt>
    <dgm:pt modelId="{D0E8A16F-6FB0-43B2-A15C-99EF43B110AC}" type="parTrans" cxnId="{75FCC5A3-782A-4248-8085-CDCB4BBCCC09}">
      <dgm:prSet/>
      <dgm:spPr/>
      <dgm:t>
        <a:bodyPr/>
        <a:lstStyle/>
        <a:p>
          <a:endParaRPr lang="cs-CZ"/>
        </a:p>
      </dgm:t>
    </dgm:pt>
    <dgm:pt modelId="{70E5E00D-979F-4F7C-8AE4-60819C3D54D7}" type="sibTrans" cxnId="{75FCC5A3-782A-4248-8085-CDCB4BBCCC09}">
      <dgm:prSet/>
      <dgm:spPr/>
      <dgm:t>
        <a:bodyPr/>
        <a:lstStyle/>
        <a:p>
          <a:endParaRPr lang="cs-CZ"/>
        </a:p>
      </dgm:t>
    </dgm:pt>
    <dgm:pt modelId="{A0D5845D-65C3-46F8-BE0B-57B616AF0BF2}" type="pres">
      <dgm:prSet presAssocID="{606FE8FE-DC04-426B-AE08-5B43F1280465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94A42755-A53B-483F-B6A7-36DEED3591EE}" type="pres">
      <dgm:prSet presAssocID="{6F6F36B8-D481-4377-A34D-A04B6130DEAA}" presName="compNode" presStyleCnt="0"/>
      <dgm:spPr/>
    </dgm:pt>
    <dgm:pt modelId="{D681E6C5-28AF-4FAF-B94A-946026C526C9}" type="pres">
      <dgm:prSet presAssocID="{6F6F36B8-D481-4377-A34D-A04B6130DEAA}" presName="pict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  <dgm:t>
        <a:bodyPr/>
        <a:lstStyle/>
        <a:p>
          <a:endParaRPr lang="cs-CZ"/>
        </a:p>
      </dgm:t>
    </dgm:pt>
    <dgm:pt modelId="{0A3280AF-782F-4691-9A5E-726666FAB77D}" type="pres">
      <dgm:prSet presAssocID="{6F6F36B8-D481-4377-A34D-A04B6130DEAA}" presName="textRect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18A00ACC-1845-40F9-8EAE-4B050F81895C}" type="pres">
      <dgm:prSet presAssocID="{5EF85BF3-C200-45B2-A56B-D381E253F6C1}" presName="sibTrans" presStyleLbl="sibTrans2D1" presStyleIdx="0" presStyleCnt="0"/>
      <dgm:spPr/>
      <dgm:t>
        <a:bodyPr/>
        <a:lstStyle/>
        <a:p>
          <a:endParaRPr lang="cs-CZ"/>
        </a:p>
      </dgm:t>
    </dgm:pt>
    <dgm:pt modelId="{A9FC1407-0B00-460B-8B28-C426E917384B}" type="pres">
      <dgm:prSet presAssocID="{1373AF57-25F2-454E-B323-4A742ADCE47C}" presName="compNode" presStyleCnt="0"/>
      <dgm:spPr/>
    </dgm:pt>
    <dgm:pt modelId="{9BF49CB5-1AD3-4CC9-90D2-7D630A5C79D0}" type="pres">
      <dgm:prSet presAssocID="{1373AF57-25F2-454E-B323-4A742ADCE47C}" presName="pictRect" presStyleLbl="nod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  <dgm:t>
        <a:bodyPr/>
        <a:lstStyle/>
        <a:p>
          <a:endParaRPr lang="cs-CZ"/>
        </a:p>
      </dgm:t>
    </dgm:pt>
    <dgm:pt modelId="{3E5323A4-85B8-41DB-B08B-583DA74BE6BC}" type="pres">
      <dgm:prSet presAssocID="{1373AF57-25F2-454E-B323-4A742ADCE47C}" presName="textRect" presStyleLbl="revTx" presStyleIdx="1" presStyleCnt="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97630584-A040-429B-8062-248E91083C1F}" type="pres">
      <dgm:prSet presAssocID="{48B8069F-3CCD-4D30-9E17-9FD7EA882FBB}" presName="sibTrans" presStyleLbl="sibTrans2D1" presStyleIdx="0" presStyleCnt="0"/>
      <dgm:spPr/>
      <dgm:t>
        <a:bodyPr/>
        <a:lstStyle/>
        <a:p>
          <a:endParaRPr lang="cs-CZ"/>
        </a:p>
      </dgm:t>
    </dgm:pt>
    <dgm:pt modelId="{F3BF4494-A1C7-4B3B-B69F-47BB3FC69E78}" type="pres">
      <dgm:prSet presAssocID="{4C88DA17-3A8F-4732-B095-406128819BAF}" presName="compNode" presStyleCnt="0"/>
      <dgm:spPr/>
    </dgm:pt>
    <dgm:pt modelId="{BC67F793-C665-4E08-8276-3F1E3A65E44E}" type="pres">
      <dgm:prSet presAssocID="{4C88DA17-3A8F-4732-B095-406128819BAF}" presName="pictRect" presStyleLbl="node1" presStyleIdx="2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</dgm:spPr>
      <dgm:t>
        <a:bodyPr/>
        <a:lstStyle/>
        <a:p>
          <a:endParaRPr lang="cs-CZ"/>
        </a:p>
      </dgm:t>
    </dgm:pt>
    <dgm:pt modelId="{25D30CD7-1FEB-4806-852B-0441A73BEDAB}" type="pres">
      <dgm:prSet presAssocID="{4C88DA17-3A8F-4732-B095-406128819BAF}" presName="textRect" presStyleLbl="revTx" presStyleIdx="2" presStyleCnt="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59F3ADF0-D8B2-4717-93DE-8C6EC5A2CF61}" type="pres">
      <dgm:prSet presAssocID="{22DF7F03-91B2-4AE7-B372-65BDFE66EE00}" presName="sibTrans" presStyleLbl="sibTrans2D1" presStyleIdx="0" presStyleCnt="0"/>
      <dgm:spPr/>
      <dgm:t>
        <a:bodyPr/>
        <a:lstStyle/>
        <a:p>
          <a:endParaRPr lang="cs-CZ"/>
        </a:p>
      </dgm:t>
    </dgm:pt>
    <dgm:pt modelId="{D1D6B5FE-2F56-4F09-AA34-6BF124A70FC9}" type="pres">
      <dgm:prSet presAssocID="{00EC78C2-0864-47C7-A068-7E1B6DD5FDE2}" presName="compNode" presStyleCnt="0"/>
      <dgm:spPr/>
    </dgm:pt>
    <dgm:pt modelId="{DA076064-F855-495E-81CF-66AFB85B5A50}" type="pres">
      <dgm:prSet presAssocID="{00EC78C2-0864-47C7-A068-7E1B6DD5FDE2}" presName="pictRect" presStyleLbl="node1" presStyleIdx="3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</dgm:spPr>
      <dgm:t>
        <a:bodyPr/>
        <a:lstStyle/>
        <a:p>
          <a:endParaRPr lang="cs-CZ"/>
        </a:p>
      </dgm:t>
    </dgm:pt>
    <dgm:pt modelId="{8F30451B-5B53-4742-ACD0-F2CC62BC485C}" type="pres">
      <dgm:prSet presAssocID="{00EC78C2-0864-47C7-A068-7E1B6DD5FDE2}" presName="textRect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</dgm:ptLst>
  <dgm:cxnLst>
    <dgm:cxn modelId="{AE140AB2-1A8B-4192-B63E-C4C178408DD0}" type="presOf" srcId="{00EC78C2-0864-47C7-A068-7E1B6DD5FDE2}" destId="{8F30451B-5B53-4742-ACD0-F2CC62BC485C}" srcOrd="0" destOrd="0" presId="urn:microsoft.com/office/officeart/2005/8/layout/pList1"/>
    <dgm:cxn modelId="{8CF33D19-F163-4AD0-B1CD-EC9EBE9D0AEE}" type="presOf" srcId="{5EF85BF3-C200-45B2-A56B-D381E253F6C1}" destId="{18A00ACC-1845-40F9-8EAE-4B050F81895C}" srcOrd="0" destOrd="0" presId="urn:microsoft.com/office/officeart/2005/8/layout/pList1"/>
    <dgm:cxn modelId="{75FCC5A3-782A-4248-8085-CDCB4BBCCC09}" srcId="{606FE8FE-DC04-426B-AE08-5B43F1280465}" destId="{00EC78C2-0864-47C7-A068-7E1B6DD5FDE2}" srcOrd="3" destOrd="0" parTransId="{D0E8A16F-6FB0-43B2-A15C-99EF43B110AC}" sibTransId="{70E5E00D-979F-4F7C-8AE4-60819C3D54D7}"/>
    <dgm:cxn modelId="{A309EA74-6531-48FC-BD75-D5C05E5EBFDF}" type="presOf" srcId="{22DF7F03-91B2-4AE7-B372-65BDFE66EE00}" destId="{59F3ADF0-D8B2-4717-93DE-8C6EC5A2CF61}" srcOrd="0" destOrd="0" presId="urn:microsoft.com/office/officeart/2005/8/layout/pList1"/>
    <dgm:cxn modelId="{C4506C11-0095-4AFD-BFDF-DC2BB64865CE}" srcId="{606FE8FE-DC04-426B-AE08-5B43F1280465}" destId="{6F6F36B8-D481-4377-A34D-A04B6130DEAA}" srcOrd="0" destOrd="0" parTransId="{B0832918-314E-4FBE-8BAE-C55C179BA185}" sibTransId="{5EF85BF3-C200-45B2-A56B-D381E253F6C1}"/>
    <dgm:cxn modelId="{53FC0C57-E880-40CE-9862-9E43C5F03363}" srcId="{606FE8FE-DC04-426B-AE08-5B43F1280465}" destId="{4C88DA17-3A8F-4732-B095-406128819BAF}" srcOrd="2" destOrd="0" parTransId="{6DCD3AFD-7170-457A-AD77-1BAD331CA2F7}" sibTransId="{22DF7F03-91B2-4AE7-B372-65BDFE66EE00}"/>
    <dgm:cxn modelId="{C66E2CDE-724B-4ECD-81A9-E1E2B1FD1CDE}" type="presOf" srcId="{606FE8FE-DC04-426B-AE08-5B43F1280465}" destId="{A0D5845D-65C3-46F8-BE0B-57B616AF0BF2}" srcOrd="0" destOrd="0" presId="urn:microsoft.com/office/officeart/2005/8/layout/pList1"/>
    <dgm:cxn modelId="{CD29BF25-2809-4F95-B0D6-05BD01DF5877}" type="presOf" srcId="{48B8069F-3CCD-4D30-9E17-9FD7EA882FBB}" destId="{97630584-A040-429B-8062-248E91083C1F}" srcOrd="0" destOrd="0" presId="urn:microsoft.com/office/officeart/2005/8/layout/pList1"/>
    <dgm:cxn modelId="{558B798B-C338-4694-B396-4737D830D400}" type="presOf" srcId="{6F6F36B8-D481-4377-A34D-A04B6130DEAA}" destId="{0A3280AF-782F-4691-9A5E-726666FAB77D}" srcOrd="0" destOrd="0" presId="urn:microsoft.com/office/officeart/2005/8/layout/pList1"/>
    <dgm:cxn modelId="{BF8C9D46-47A3-4C71-88A5-EAB6AF3B82B2}" type="presOf" srcId="{1373AF57-25F2-454E-B323-4A742ADCE47C}" destId="{3E5323A4-85B8-41DB-B08B-583DA74BE6BC}" srcOrd="0" destOrd="0" presId="urn:microsoft.com/office/officeart/2005/8/layout/pList1"/>
    <dgm:cxn modelId="{987E861B-40EA-42D5-B03E-EA2E2FD46258}" srcId="{606FE8FE-DC04-426B-AE08-5B43F1280465}" destId="{1373AF57-25F2-454E-B323-4A742ADCE47C}" srcOrd="1" destOrd="0" parTransId="{C1ADB077-C0C6-4CF7-91B1-3EAAD8B65EEE}" sibTransId="{48B8069F-3CCD-4D30-9E17-9FD7EA882FBB}"/>
    <dgm:cxn modelId="{1A74CD6C-D86C-40D3-BD04-212C67F4E0C3}" type="presOf" srcId="{4C88DA17-3A8F-4732-B095-406128819BAF}" destId="{25D30CD7-1FEB-4806-852B-0441A73BEDAB}" srcOrd="0" destOrd="0" presId="urn:microsoft.com/office/officeart/2005/8/layout/pList1"/>
    <dgm:cxn modelId="{0FE510AA-F9F1-42D7-9DC3-71BA0ECB5DAC}" type="presParOf" srcId="{A0D5845D-65C3-46F8-BE0B-57B616AF0BF2}" destId="{94A42755-A53B-483F-B6A7-36DEED3591EE}" srcOrd="0" destOrd="0" presId="urn:microsoft.com/office/officeart/2005/8/layout/pList1"/>
    <dgm:cxn modelId="{84BE2861-A8CF-4CBD-A451-17063C60CBFB}" type="presParOf" srcId="{94A42755-A53B-483F-B6A7-36DEED3591EE}" destId="{D681E6C5-28AF-4FAF-B94A-946026C526C9}" srcOrd="0" destOrd="0" presId="urn:microsoft.com/office/officeart/2005/8/layout/pList1"/>
    <dgm:cxn modelId="{59CF6B94-8358-4D9F-AA72-7B2B82F61FE4}" type="presParOf" srcId="{94A42755-A53B-483F-B6A7-36DEED3591EE}" destId="{0A3280AF-782F-4691-9A5E-726666FAB77D}" srcOrd="1" destOrd="0" presId="urn:microsoft.com/office/officeart/2005/8/layout/pList1"/>
    <dgm:cxn modelId="{CF246586-4CE8-4460-A142-F7084BE2824E}" type="presParOf" srcId="{A0D5845D-65C3-46F8-BE0B-57B616AF0BF2}" destId="{18A00ACC-1845-40F9-8EAE-4B050F81895C}" srcOrd="1" destOrd="0" presId="urn:microsoft.com/office/officeart/2005/8/layout/pList1"/>
    <dgm:cxn modelId="{78EC21B3-3F81-48BD-9972-9070A2905E74}" type="presParOf" srcId="{A0D5845D-65C3-46F8-BE0B-57B616AF0BF2}" destId="{A9FC1407-0B00-460B-8B28-C426E917384B}" srcOrd="2" destOrd="0" presId="urn:microsoft.com/office/officeart/2005/8/layout/pList1"/>
    <dgm:cxn modelId="{6804BE94-F836-4E0C-9633-6CCF953614D4}" type="presParOf" srcId="{A9FC1407-0B00-460B-8B28-C426E917384B}" destId="{9BF49CB5-1AD3-4CC9-90D2-7D630A5C79D0}" srcOrd="0" destOrd="0" presId="urn:microsoft.com/office/officeart/2005/8/layout/pList1"/>
    <dgm:cxn modelId="{F32DCAF3-BF98-4195-8D04-D1AC5F37ED24}" type="presParOf" srcId="{A9FC1407-0B00-460B-8B28-C426E917384B}" destId="{3E5323A4-85B8-41DB-B08B-583DA74BE6BC}" srcOrd="1" destOrd="0" presId="urn:microsoft.com/office/officeart/2005/8/layout/pList1"/>
    <dgm:cxn modelId="{EB6B5D41-6CD3-4449-93A8-88A6F00DC168}" type="presParOf" srcId="{A0D5845D-65C3-46F8-BE0B-57B616AF0BF2}" destId="{97630584-A040-429B-8062-248E91083C1F}" srcOrd="3" destOrd="0" presId="urn:microsoft.com/office/officeart/2005/8/layout/pList1"/>
    <dgm:cxn modelId="{EAB788F8-FDF4-4606-B4D0-BDA8E1E97C7E}" type="presParOf" srcId="{A0D5845D-65C3-46F8-BE0B-57B616AF0BF2}" destId="{F3BF4494-A1C7-4B3B-B69F-47BB3FC69E78}" srcOrd="4" destOrd="0" presId="urn:microsoft.com/office/officeart/2005/8/layout/pList1"/>
    <dgm:cxn modelId="{311B822D-EDCC-4625-B02F-22CD02963D0E}" type="presParOf" srcId="{F3BF4494-A1C7-4B3B-B69F-47BB3FC69E78}" destId="{BC67F793-C665-4E08-8276-3F1E3A65E44E}" srcOrd="0" destOrd="0" presId="urn:microsoft.com/office/officeart/2005/8/layout/pList1"/>
    <dgm:cxn modelId="{9686AC7E-09A8-40BA-A99F-91F64B9D3A2A}" type="presParOf" srcId="{F3BF4494-A1C7-4B3B-B69F-47BB3FC69E78}" destId="{25D30CD7-1FEB-4806-852B-0441A73BEDAB}" srcOrd="1" destOrd="0" presId="urn:microsoft.com/office/officeart/2005/8/layout/pList1"/>
    <dgm:cxn modelId="{1EBF1709-2D75-40DC-BF93-0DBAF0C06354}" type="presParOf" srcId="{A0D5845D-65C3-46F8-BE0B-57B616AF0BF2}" destId="{59F3ADF0-D8B2-4717-93DE-8C6EC5A2CF61}" srcOrd="5" destOrd="0" presId="urn:microsoft.com/office/officeart/2005/8/layout/pList1"/>
    <dgm:cxn modelId="{FAEFC3AD-7770-43D1-9D82-75B29A5F0EB4}" type="presParOf" srcId="{A0D5845D-65C3-46F8-BE0B-57B616AF0BF2}" destId="{D1D6B5FE-2F56-4F09-AA34-6BF124A70FC9}" srcOrd="6" destOrd="0" presId="urn:microsoft.com/office/officeart/2005/8/layout/pList1"/>
    <dgm:cxn modelId="{D160ECB2-FC23-48D2-8CED-538FFA88C10B}" type="presParOf" srcId="{D1D6B5FE-2F56-4F09-AA34-6BF124A70FC9}" destId="{DA076064-F855-495E-81CF-66AFB85B5A50}" srcOrd="0" destOrd="0" presId="urn:microsoft.com/office/officeart/2005/8/layout/pList1"/>
    <dgm:cxn modelId="{12F9EB53-83BB-4F82-A1F0-60DB9F00C451}" type="presParOf" srcId="{D1D6B5FE-2F56-4F09-AA34-6BF124A70FC9}" destId="{8F30451B-5B53-4742-ACD0-F2CC62BC485C}" srcOrd="1" destOrd="0" presId="urn:microsoft.com/office/officeart/2005/8/layout/p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81E6C5-28AF-4FAF-B94A-946026C526C9}">
      <dsp:nvSpPr>
        <dsp:cNvPr id="0" name=""/>
        <dsp:cNvSpPr/>
      </dsp:nvSpPr>
      <dsp:spPr>
        <a:xfrm>
          <a:off x="363696" y="862"/>
          <a:ext cx="1483948" cy="1022440"/>
        </a:xfrm>
        <a:prstGeom prst="round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A3280AF-782F-4691-9A5E-726666FAB77D}">
      <dsp:nvSpPr>
        <dsp:cNvPr id="0" name=""/>
        <dsp:cNvSpPr/>
      </dsp:nvSpPr>
      <dsp:spPr>
        <a:xfrm>
          <a:off x="363696" y="1023303"/>
          <a:ext cx="1483948" cy="5505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0" numCol="1" spcCol="1270" anchor="t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500" kern="1200" dirty="0" smtClean="0">
              <a:solidFill>
                <a:schemeClr val="bg1"/>
              </a:solidFill>
              <a:latin typeface="Gotham Rounded Book" pitchFamily="50" charset="-18"/>
            </a:rPr>
            <a:t>Chytrá města &amp; budovy</a:t>
          </a:r>
          <a:endParaRPr lang="cs-CZ" sz="1500" kern="1200" dirty="0">
            <a:solidFill>
              <a:schemeClr val="bg1"/>
            </a:solidFill>
            <a:latin typeface="Gotham Rounded Book" pitchFamily="50" charset="-18"/>
          </a:endParaRPr>
        </a:p>
      </dsp:txBody>
      <dsp:txXfrm>
        <a:off x="363696" y="1023303"/>
        <a:ext cx="1483948" cy="550544"/>
      </dsp:txXfrm>
    </dsp:sp>
    <dsp:sp modelId="{9BF49CB5-1AD3-4CC9-90D2-7D630A5C79D0}">
      <dsp:nvSpPr>
        <dsp:cNvPr id="0" name=""/>
        <dsp:cNvSpPr/>
      </dsp:nvSpPr>
      <dsp:spPr>
        <a:xfrm>
          <a:off x="1996102" y="862"/>
          <a:ext cx="1483948" cy="1022440"/>
        </a:xfrm>
        <a:prstGeom prst="round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E5323A4-85B8-41DB-B08B-583DA74BE6BC}">
      <dsp:nvSpPr>
        <dsp:cNvPr id="0" name=""/>
        <dsp:cNvSpPr/>
      </dsp:nvSpPr>
      <dsp:spPr>
        <a:xfrm>
          <a:off x="1996102" y="1023303"/>
          <a:ext cx="1483948" cy="5505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0" numCol="1" spcCol="1270" anchor="t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500" kern="1200" dirty="0" smtClean="0">
              <a:solidFill>
                <a:schemeClr val="bg1"/>
              </a:solidFill>
              <a:latin typeface="Gotham Rounded Book" pitchFamily="50" charset="-18"/>
            </a:rPr>
            <a:t>Energetický management</a:t>
          </a:r>
          <a:endParaRPr lang="cs-CZ" sz="1500" kern="1200" dirty="0">
            <a:solidFill>
              <a:schemeClr val="bg1"/>
            </a:solidFill>
            <a:latin typeface="Gotham Rounded Book" pitchFamily="50" charset="-18"/>
          </a:endParaRPr>
        </a:p>
      </dsp:txBody>
      <dsp:txXfrm>
        <a:off x="1996102" y="1023303"/>
        <a:ext cx="1483948" cy="550544"/>
      </dsp:txXfrm>
    </dsp:sp>
    <dsp:sp modelId="{BC67F793-C665-4E08-8276-3F1E3A65E44E}">
      <dsp:nvSpPr>
        <dsp:cNvPr id="0" name=""/>
        <dsp:cNvSpPr/>
      </dsp:nvSpPr>
      <dsp:spPr>
        <a:xfrm>
          <a:off x="363696" y="1722243"/>
          <a:ext cx="1483948" cy="1022440"/>
        </a:xfrm>
        <a:prstGeom prst="round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1000" r="-11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5D30CD7-1FEB-4806-852B-0441A73BEDAB}">
      <dsp:nvSpPr>
        <dsp:cNvPr id="0" name=""/>
        <dsp:cNvSpPr/>
      </dsp:nvSpPr>
      <dsp:spPr>
        <a:xfrm>
          <a:off x="363696" y="2744684"/>
          <a:ext cx="1483948" cy="5505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0" numCol="1" spcCol="1270" anchor="t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500" kern="1200" dirty="0" smtClean="0">
              <a:solidFill>
                <a:schemeClr val="bg1"/>
              </a:solidFill>
              <a:latin typeface="Gotham Rounded Book" pitchFamily="50" charset="-18"/>
            </a:rPr>
            <a:t>Průmysl (4.0)</a:t>
          </a:r>
          <a:endParaRPr lang="cs-CZ" sz="1500" kern="1200" dirty="0">
            <a:solidFill>
              <a:schemeClr val="bg1"/>
            </a:solidFill>
            <a:latin typeface="Gotham Rounded Book" pitchFamily="50" charset="-18"/>
          </a:endParaRPr>
        </a:p>
      </dsp:txBody>
      <dsp:txXfrm>
        <a:off x="363696" y="2744684"/>
        <a:ext cx="1483948" cy="550544"/>
      </dsp:txXfrm>
    </dsp:sp>
    <dsp:sp modelId="{DA076064-F855-495E-81CF-66AFB85B5A50}">
      <dsp:nvSpPr>
        <dsp:cNvPr id="0" name=""/>
        <dsp:cNvSpPr/>
      </dsp:nvSpPr>
      <dsp:spPr>
        <a:xfrm>
          <a:off x="1996102" y="1722243"/>
          <a:ext cx="1483948" cy="1022440"/>
        </a:xfrm>
        <a:prstGeom prst="roundRect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F30451B-5B53-4742-ACD0-F2CC62BC485C}">
      <dsp:nvSpPr>
        <dsp:cNvPr id="0" name=""/>
        <dsp:cNvSpPr/>
      </dsp:nvSpPr>
      <dsp:spPr>
        <a:xfrm>
          <a:off x="1996102" y="2744684"/>
          <a:ext cx="1483948" cy="5505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0" numCol="1" spcCol="1270" anchor="t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500" kern="1200" dirty="0" smtClean="0">
              <a:solidFill>
                <a:schemeClr val="bg1"/>
              </a:solidFill>
              <a:latin typeface="Gotham Rounded Book" pitchFamily="50" charset="-18"/>
            </a:rPr>
            <a:t>Životní prostředí</a:t>
          </a:r>
          <a:endParaRPr lang="cs-CZ" sz="1500" kern="1200" dirty="0">
            <a:solidFill>
              <a:schemeClr val="bg1"/>
            </a:solidFill>
            <a:latin typeface="Gotham Rounded Book" pitchFamily="50" charset="-18"/>
          </a:endParaRPr>
        </a:p>
      </dsp:txBody>
      <dsp:txXfrm>
        <a:off x="1996102" y="2744684"/>
        <a:ext cx="1483948" cy="5505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1">
  <dgm:title val=""/>
  <dgm:desc val=""/>
  <dgm:catLst>
    <dgm:cat type="list" pri="2000"/>
    <dgm:cat type="picture" pri="2500"/>
    <dgm:cat type="pictureconvert" pri="2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3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1"/>
      <dgm:constr type="sp" refType="w" refFor="ch" refForName="compNode" op="equ" fact="0.1"/>
      <dgm:constr type="primFontSz" for="des" ptType="node" op="equ" val="65"/>
    </dgm:constrLst>
    <dgm:ruleLst/>
    <dgm:forEach name="Name4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 axis="self"/>
        <dgm:constrLst>
          <dgm:constr type="h" refType="w" fact="1.06"/>
          <dgm:constr type="h" for="ch" forName="pictRect" refType="h" fact="0.65"/>
          <dgm:constr type="w" for="ch" forName="pictRect" refType="w"/>
          <dgm:constr type="l" for="ch" forName="pictRect"/>
          <dgm:constr type="t" for="ch" forName="pictRect"/>
          <dgm:constr type="w" for="ch" forName="textRect" refType="w"/>
          <dgm:constr type="h" for="ch" forName="textRect" refType="h" fact="0.35"/>
          <dgm:constr type="l" for="ch" forName="textRect"/>
          <dgm:constr type="t" for="ch" forName="textRect" refType="b" refFor="ch" refForName="pictRect"/>
        </dgm:constrLst>
        <dgm:ruleLst/>
        <dgm:layoutNode name="pictRect">
          <dgm:alg type="sp"/>
          <dgm:shape xmlns:r="http://schemas.openxmlformats.org/officeDocument/2006/relationships" type="roundRect" r:blip="" blipPhldr="1">
            <dgm:adjLst/>
          </dgm:shape>
          <dgm:presOf/>
          <dgm:constrLst/>
          <dgm:ruleLst/>
        </dgm:layoutNode>
        <dgm:layoutNode name="textRect" styleLbl="revTx">
          <dgm:varLst>
            <dgm:bulletEnabled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bMarg"/>
          </dgm:constrLst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B6BB9AC-E4C1-436C-9394-2B6E8B18E03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498322B-32B5-4D5C-95FE-3CE68E76494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203" y="0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r">
              <a:defRPr sz="1200"/>
            </a:lvl1pPr>
          </a:lstStyle>
          <a:p>
            <a:fld id="{DE738BE1-54E5-4B21-BC57-60FE58628124}" type="datetimeFigureOut">
              <a:rPr lang="cs-CZ" smtClean="0"/>
              <a:t>14.06.2022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E3113F-1C93-4B9E-8231-18AEE8A9995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2309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BD5D71-BC63-45C2-AD17-F2BAF4AFADA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203" y="9722309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r">
              <a:defRPr sz="1200"/>
            </a:lvl1pPr>
          </a:lstStyle>
          <a:p>
            <a:fld id="{B5E00880-CCAA-4F5D-91D5-4584B7006A6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339323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511731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7" cy="511731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r">
              <a:defRPr sz="1200"/>
            </a:lvl1pPr>
          </a:lstStyle>
          <a:p>
            <a:fld id="{56E8EC45-924A-4CFB-8B96-8BEF3890B6D4}" type="datetimeFigureOut">
              <a:rPr lang="cs-CZ" smtClean="0"/>
              <a:t>14.06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8350"/>
            <a:ext cx="6821487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96" tIns="47398" rIns="94796" bIns="47398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710407" y="4861442"/>
            <a:ext cx="5683250" cy="4605576"/>
          </a:xfrm>
          <a:prstGeom prst="rect">
            <a:avLst/>
          </a:prstGeom>
        </p:spPr>
        <p:txBody>
          <a:bodyPr vert="horz" lIns="94796" tIns="47398" rIns="94796" bIns="47398" rtlCol="0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1" y="9721106"/>
            <a:ext cx="3078427" cy="511731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4023993" y="9721106"/>
            <a:ext cx="3078427" cy="511731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r">
              <a:defRPr sz="1200"/>
            </a:lvl1pPr>
          </a:lstStyle>
          <a:p>
            <a:fld id="{C552838E-B740-4528-BA45-BE4EAAC5609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511799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52838E-B740-4528-BA45-BE4EAAC56092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25849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417931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076104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4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4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4" Type="http://schemas.openxmlformats.org/officeDocument/2006/relationships/image" Target="../media/image10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7.mp4"/><Relationship Id="rId1" Type="http://schemas.microsoft.com/office/2007/relationships/media" Target="../media/media7.mp4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8.mp4"/><Relationship Id="rId1" Type="http://schemas.microsoft.com/office/2007/relationships/media" Target="../media/media8.mp4"/><Relationship Id="rId4" Type="http://schemas.openxmlformats.org/officeDocument/2006/relationships/image" Target="../media/image12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D:\Users\drakulinda\Documents\00 CRa\0000_Ceske_Radiokomunikace_sablony\2016_CRA_Corporate_identity\LOGO RGB-pro digitalni pouziti\CRA_logo_WHITE_no_bgr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7265" y="2068120"/>
            <a:ext cx="3089479" cy="1007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303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A_slide_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 txBox="1">
            <a:spLocks/>
          </p:cNvSpPr>
          <p:nvPr userDrawn="1"/>
        </p:nvSpPr>
        <p:spPr>
          <a:xfrm>
            <a:off x="387008" y="322349"/>
            <a:ext cx="8371183" cy="41186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9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all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otham Rounded Book" pitchFamily="50" charset="0"/>
              <a:ea typeface="+mj-ea"/>
              <a:cs typeface="+mj-cs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7004" y="322349"/>
            <a:ext cx="8371090" cy="41300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500" b="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7004" y="772534"/>
            <a:ext cx="8371090" cy="23214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pPr lvl="0"/>
            <a:r>
              <a:rPr lang="cs-CZ" dirty="0"/>
              <a:t>C</a:t>
            </a:r>
            <a:r>
              <a:rPr lang="en-US" dirty="0"/>
              <a:t>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8974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0" y="150132"/>
            <a:ext cx="9144000" cy="5818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324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텍스트 개체 틀 2">
            <a:extLst>
              <a:ext uri="{FF2B5EF4-FFF2-40B4-BE49-F238E27FC236}">
                <a16:creationId xmlns:a16="http://schemas.microsoft.com/office/drawing/2014/main" id="{BEA53C6E-B822-48C1-AE43-123E9E431F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0" y="754037"/>
            <a:ext cx="9144000" cy="314535"/>
          </a:xfrm>
          <a:prstGeom prst="rect">
            <a:avLst/>
          </a:prstGeom>
        </p:spPr>
        <p:txBody>
          <a:bodyPr anchor="ctr"/>
          <a:lstStyle>
            <a:lvl1pPr marL="0" marR="0" indent="0" algn="ctr" defTabSz="617210" rtl="0" eaLnBrk="1" fontAlgn="auto" latinLnBrk="1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2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617210" rtl="0" eaLnBrk="1" fontAlgn="auto" latinLnBrk="1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Subtitle in this lin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673490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6CD10A4-4124-49DC-8C02-4220A59764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A3192A73-765F-4586-9643-F364C44876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D9EEC36-5FFF-4833-B997-5AA37A8B31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914F2-79FE-4700-93A0-24F77F55FAFC}" type="datetime1">
              <a:rPr lang="cs-CZ" smtClean="0"/>
              <a:t>14.06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10A0410-A544-47C6-B36D-675F799F0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51F81A5-1EFB-47A1-928F-3908B8524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3C9EAB-E0F3-40D4-B295-2308781DFBF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0320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ZPECNO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ecurity">
            <a:hlinkClick r:id="" action="ppaction://media"/>
            <a:extLst>
              <a:ext uri="{FF2B5EF4-FFF2-40B4-BE49-F238E27FC236}">
                <a16:creationId xmlns:a16="http://schemas.microsoft.com/office/drawing/2014/main" id="{2C6C206D-E940-435B-BC98-08F67103B866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05465" y="915566"/>
            <a:ext cx="8712359" cy="4083918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8C3DEEE-AE78-4DB5-8011-2DEC396A90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572" y="267496"/>
            <a:ext cx="7704856" cy="471378"/>
          </a:xfrm>
          <a:prstGeom prst="rect">
            <a:avLst/>
          </a:prstGeom>
          <a:noFill/>
        </p:spPr>
        <p:txBody>
          <a:bodyPr anchor="b"/>
          <a:lstStyle>
            <a:lvl1pPr marL="0" indent="0" algn="l">
              <a:buFont typeface="Arial" panose="020B0604020202020204" pitchFamily="34" charset="0"/>
              <a:buNone/>
              <a:defRPr sz="16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EDD124C-F3A4-4358-899A-6A977976EE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8823" y="757294"/>
            <a:ext cx="7706354" cy="302288"/>
          </a:xfrm>
          <a:prstGeom prst="rect">
            <a:avLst/>
          </a:prstGeom>
          <a:noFill/>
        </p:spPr>
        <p:txBody>
          <a:bodyPr anchor="t"/>
          <a:lstStyle>
            <a:lvl1pPr marL="0" indent="0" algn="l">
              <a:buFont typeface="Arial" panose="020B0604020202020204" pitchFamily="34" charset="0"/>
              <a:buNone/>
              <a:defRPr sz="12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97826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80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LOUD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C uvodN">
            <a:hlinkClick r:id="" action="ppaction://media"/>
            <a:extLst>
              <a:ext uri="{FF2B5EF4-FFF2-40B4-BE49-F238E27FC236}">
                <a16:creationId xmlns:a16="http://schemas.microsoft.com/office/drawing/2014/main" id="{23652ED2-727D-4BED-B340-81A755FCA9A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" y="15750"/>
            <a:ext cx="7085183" cy="5112000"/>
          </a:xfrm>
          <a:prstGeom prst="rect">
            <a:avLst/>
          </a:prstGeom>
          <a:ln>
            <a:noFill/>
          </a:ln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3990C77-042B-424C-AF50-D4407EC0F36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8829" y="1707656"/>
            <a:ext cx="4145566" cy="471378"/>
          </a:xfrm>
          <a:prstGeom prst="rect">
            <a:avLst/>
          </a:prstGeom>
          <a:solidFill>
            <a:srgbClr val="4D4D4D">
              <a:alpha val="62000"/>
            </a:srgbClr>
          </a:solidFill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16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337F862-0A90-4CAE-BF1F-684AE69106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8024" y="2197454"/>
            <a:ext cx="4146372" cy="302288"/>
          </a:xfrm>
          <a:prstGeom prst="rect">
            <a:avLst/>
          </a:prstGeom>
          <a:solidFill>
            <a:srgbClr val="4D4D4D">
              <a:alpha val="62000"/>
            </a:srgbClr>
          </a:solidFill>
        </p:spPr>
        <p:txBody>
          <a:bodyPr anchor="t"/>
          <a:lstStyle>
            <a:lvl1pPr marL="0" indent="0" algn="r">
              <a:buFont typeface="Arial" panose="020B0604020202020204" pitchFamily="34" charset="0"/>
              <a:buNone/>
              <a:defRPr sz="12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24414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806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OVA CENTRA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H uvodN">
            <a:hlinkClick r:id="" action="ppaction://media"/>
            <a:extLst>
              <a:ext uri="{FF2B5EF4-FFF2-40B4-BE49-F238E27FC236}">
                <a16:creationId xmlns:a16="http://schemas.microsoft.com/office/drawing/2014/main" id="{F6FBED33-1405-45C3-BB59-A923E5E4FBA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" y="0"/>
            <a:ext cx="6715125" cy="5143500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4E669DD-8F31-45F6-80E7-6B5EC817D35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8829" y="1131590"/>
            <a:ext cx="4145566" cy="471378"/>
          </a:xfrm>
          <a:prstGeom prst="rect">
            <a:avLst/>
          </a:prstGeom>
          <a:noFill/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16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DE7B9DB-BE39-486C-B516-EDF2C42F78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8024" y="1621390"/>
            <a:ext cx="4146372" cy="302288"/>
          </a:xfrm>
          <a:prstGeom prst="rect">
            <a:avLst/>
          </a:prstGeom>
          <a:noFill/>
        </p:spPr>
        <p:txBody>
          <a:bodyPr anchor="t"/>
          <a:lstStyle>
            <a:lvl1pPr marL="0" indent="0" algn="r">
              <a:buFont typeface="Arial" panose="020B0604020202020204" pitchFamily="34" charset="0"/>
              <a:buNone/>
              <a:defRPr sz="12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194206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80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BB TV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hbbtv_s">
            <a:hlinkClick r:id="" action="ppaction://media"/>
            <a:extLst>
              <a:ext uri="{FF2B5EF4-FFF2-40B4-BE49-F238E27FC236}">
                <a16:creationId xmlns:a16="http://schemas.microsoft.com/office/drawing/2014/main" id="{2C09363B-107F-4035-B870-E1F72A5C3CB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51524" y="1374999"/>
            <a:ext cx="4248468" cy="2393503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7A979BA-5843-444E-9FAA-DBCCEC4C52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68107" y="2197456"/>
            <a:ext cx="3866288" cy="471378"/>
          </a:xfrm>
          <a:prstGeom prst="rect">
            <a:avLst/>
          </a:prstGeom>
          <a:solidFill>
            <a:srgbClr val="4D4D4D">
              <a:alpha val="62000"/>
            </a:srgbClr>
          </a:solidFill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16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1BD9F9A-0709-487D-A1B9-95D66FDC1A0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67356" y="2701510"/>
            <a:ext cx="3867040" cy="302288"/>
          </a:xfrm>
          <a:prstGeom prst="rect">
            <a:avLst/>
          </a:prstGeom>
          <a:solidFill>
            <a:srgbClr val="4D4D4D">
              <a:alpha val="62000"/>
            </a:srgbClr>
          </a:solidFill>
        </p:spPr>
        <p:txBody>
          <a:bodyPr anchor="t"/>
          <a:lstStyle>
            <a:lvl1pPr marL="0" indent="0" algn="r">
              <a:buFont typeface="Arial" panose="020B0604020202020204" pitchFamily="34" charset="0"/>
              <a:buNone/>
              <a:defRPr sz="12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4146866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08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OT Cloud hlavni_S">
            <a:hlinkClick r:id="" action="ppaction://media"/>
            <a:extLst>
              <a:ext uri="{FF2B5EF4-FFF2-40B4-BE49-F238E27FC236}">
                <a16:creationId xmlns:a16="http://schemas.microsoft.com/office/drawing/2014/main" id="{D125099D-80BE-4D05-AC48-7F969DFCDE2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5496" y="15750"/>
            <a:ext cx="7270400" cy="5112000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EDDD383-4E29-46C3-B4FF-615A25B983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04813" y="2197456"/>
            <a:ext cx="3922769" cy="471378"/>
          </a:xfrm>
          <a:prstGeom prst="rect">
            <a:avLst/>
          </a:prstGeom>
          <a:solidFill>
            <a:srgbClr val="4D4D4D">
              <a:alpha val="62000"/>
            </a:srgbClr>
          </a:solidFill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16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D47F10D-C50A-43D2-951C-0E87ADB193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04048" y="2701510"/>
            <a:ext cx="3923532" cy="302288"/>
          </a:xfrm>
          <a:prstGeom prst="rect">
            <a:avLst/>
          </a:prstGeom>
          <a:solidFill>
            <a:srgbClr val="4D4D4D">
              <a:alpha val="62000"/>
            </a:srgbClr>
          </a:solidFill>
        </p:spPr>
        <p:txBody>
          <a:bodyPr anchor="t"/>
          <a:lstStyle>
            <a:lvl1pPr marL="0" indent="0" algn="r">
              <a:buFont typeface="Arial" panose="020B0604020202020204" pitchFamily="34" charset="0"/>
              <a:buNone/>
              <a:defRPr sz="12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4046800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806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CL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TT schemaN">
            <a:hlinkClick r:id="" action="ppaction://media"/>
            <a:extLst>
              <a:ext uri="{FF2B5EF4-FFF2-40B4-BE49-F238E27FC236}">
                <a16:creationId xmlns:a16="http://schemas.microsoft.com/office/drawing/2014/main" id="{DFAADF23-6D01-424F-9082-0E2D90D7063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92773" y="915566"/>
            <a:ext cx="7958454" cy="4227934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3A035E3-3758-4A10-AEE5-ADA44EA84D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15620" y="123479"/>
            <a:ext cx="6844233" cy="471378"/>
          </a:xfrm>
          <a:prstGeom prst="rect">
            <a:avLst/>
          </a:prstGeom>
          <a:noFill/>
        </p:spPr>
        <p:txBody>
          <a:bodyPr anchor="b"/>
          <a:lstStyle>
            <a:lvl1pPr marL="0" indent="0" algn="l">
              <a:buFont typeface="Arial" panose="020B0604020202020204" pitchFamily="34" charset="0"/>
              <a:buNone/>
              <a:defRPr sz="16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E3D12F7-8D8F-4A68-9E86-7C03D5A6A4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14945" y="618016"/>
            <a:ext cx="6845564" cy="302288"/>
          </a:xfrm>
          <a:prstGeom prst="rect">
            <a:avLst/>
          </a:prstGeom>
          <a:noFill/>
        </p:spPr>
        <p:txBody>
          <a:bodyPr anchor="t"/>
          <a:lstStyle>
            <a:lvl1pPr marL="0" indent="0" algn="l">
              <a:buFont typeface="Arial" panose="020B0604020202020204" pitchFamily="34" charset="0"/>
              <a:buNone/>
              <a:defRPr sz="12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247526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215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CO INFRASTRUKT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TELCO hlavni">
            <a:hlinkClick r:id="" action="ppaction://media"/>
            <a:extLst>
              <a:ext uri="{FF2B5EF4-FFF2-40B4-BE49-F238E27FC236}">
                <a16:creationId xmlns:a16="http://schemas.microsoft.com/office/drawing/2014/main" id="{779746F5-8954-4516-A8B3-AAD24B67CBD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2061" t="3841" r="5474"/>
          <a:stretch/>
        </p:blipFill>
        <p:spPr>
          <a:xfrm>
            <a:off x="35497" y="15750"/>
            <a:ext cx="7400713" cy="5112000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BC4DC5C-AE27-4F71-A280-83EE3DEFE8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64779" y="1635648"/>
            <a:ext cx="3562729" cy="471378"/>
          </a:xfrm>
          <a:prstGeom prst="rect">
            <a:avLst/>
          </a:prstGeom>
          <a:noFill/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16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B945405-D61C-4578-AD1E-E4565A2BBF8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64088" y="2153958"/>
            <a:ext cx="3563422" cy="302288"/>
          </a:xfrm>
          <a:prstGeom prst="rect">
            <a:avLst/>
          </a:prstGeom>
          <a:noFill/>
        </p:spPr>
        <p:txBody>
          <a:bodyPr anchor="t"/>
          <a:lstStyle>
            <a:lvl1pPr marL="0" indent="0" algn="r">
              <a:buFont typeface="Arial" panose="020B0604020202020204" pitchFamily="34" charset="0"/>
              <a:buNone/>
              <a:defRPr sz="12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4191928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80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8519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6400"/>
    </mc:Choice>
    <mc:Fallback xmlns="">
      <p:transition spd="slow" advClick="0" advTm="640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P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VPN_hlavni">
            <a:hlinkClick r:id="" action="ppaction://media"/>
            <a:extLst>
              <a:ext uri="{FF2B5EF4-FFF2-40B4-BE49-F238E27FC236}">
                <a16:creationId xmlns:a16="http://schemas.microsoft.com/office/drawing/2014/main" id="{7CF09422-31E0-4D7D-8B73-45A08B6FEB8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1964" r="9863"/>
          <a:stretch/>
        </p:blipFill>
        <p:spPr>
          <a:xfrm>
            <a:off x="4" y="15750"/>
            <a:ext cx="4794990" cy="5112000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F53ECC9-5562-4039-98DE-8CD5465DCF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8829" y="2197456"/>
            <a:ext cx="4145566" cy="471378"/>
          </a:xfrm>
          <a:prstGeom prst="rect">
            <a:avLst/>
          </a:prstGeom>
          <a:solidFill>
            <a:srgbClr val="4D4D4D">
              <a:alpha val="62000"/>
            </a:srgbClr>
          </a:solidFill>
        </p:spPr>
        <p:txBody>
          <a:bodyPr anchor="b"/>
          <a:lstStyle>
            <a:lvl1pPr marL="0" indent="0" algn="r">
              <a:buFont typeface="Arial" panose="020B0604020202020204" pitchFamily="34" charset="0"/>
              <a:buNone/>
              <a:defRPr sz="16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52C2236-A24E-4ADE-988C-9C8A71C4B2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8024" y="2715766"/>
            <a:ext cx="4146372" cy="302288"/>
          </a:xfrm>
          <a:prstGeom prst="rect">
            <a:avLst/>
          </a:prstGeom>
          <a:solidFill>
            <a:srgbClr val="4D4D4D">
              <a:alpha val="62000"/>
            </a:srgbClr>
          </a:solidFill>
        </p:spPr>
        <p:txBody>
          <a:bodyPr anchor="t"/>
          <a:lstStyle>
            <a:lvl1pPr marL="0" indent="0" algn="r">
              <a:buFont typeface="Arial" panose="020B0604020202020204" pitchFamily="34" charset="0"/>
              <a:buNone/>
              <a:defRPr sz="12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214835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853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 txBox="1">
            <a:spLocks/>
          </p:cNvSpPr>
          <p:nvPr userDrawn="1"/>
        </p:nvSpPr>
        <p:spPr>
          <a:xfrm>
            <a:off x="387004" y="322423"/>
            <a:ext cx="8371183" cy="41186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cs-CZ" sz="1800" dirty="0">
              <a:solidFill>
                <a:sysClr val="windowText" lastClr="000000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7004" y="322347"/>
            <a:ext cx="8371090" cy="41300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7004" y="772534"/>
            <a:ext cx="8371090" cy="23214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425" b="1">
                <a:solidFill>
                  <a:schemeClr val="tx2"/>
                </a:solidFill>
              </a:defRPr>
            </a:lvl1pPr>
          </a:lstStyle>
          <a:p>
            <a:pPr lvl="0"/>
            <a:r>
              <a:rPr lang="cs-CZ" dirty="0"/>
              <a:t>C</a:t>
            </a:r>
            <a:r>
              <a:rPr lang="en-US" dirty="0"/>
              <a:t>lick to edit master text styles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87002" y="1164162"/>
            <a:ext cx="4050527" cy="3374219"/>
          </a:xfrm>
          <a:prstGeom prst="rect">
            <a:avLst/>
          </a:prstGeom>
        </p:spPr>
        <p:txBody>
          <a:bodyPr lIns="0" tIns="0" rIns="0" bIns="0"/>
          <a:lstStyle>
            <a:lvl1pPr marL="256484" indent="-256484">
              <a:buFont typeface="Arial" panose="020B0604020202020204" pitchFamily="34" charset="0"/>
              <a:buChar char="•"/>
              <a:defRPr sz="1425">
                <a:solidFill>
                  <a:srgbClr val="293133"/>
                </a:solidFill>
              </a:defRPr>
            </a:lvl1pPr>
            <a:lvl2pPr marL="555688" indent="-213733">
              <a:buFont typeface="Arial" panose="020B0604020202020204" pitchFamily="34" charset="0"/>
              <a:buChar char="•"/>
              <a:defRPr sz="1125">
                <a:solidFill>
                  <a:srgbClr val="293133"/>
                </a:solidFill>
              </a:defRPr>
            </a:lvl2pPr>
            <a:lvl3pPr marL="854917" indent="-170991">
              <a:buFont typeface="Arial" panose="020B0604020202020204" pitchFamily="34" charset="0"/>
              <a:buChar char="•"/>
              <a:defRPr sz="1125">
                <a:solidFill>
                  <a:srgbClr val="293133"/>
                </a:solidFill>
              </a:defRPr>
            </a:lvl3pPr>
            <a:lvl4pPr marL="1196870" indent="-170991">
              <a:buFont typeface="Arial" panose="020B0604020202020204" pitchFamily="34" charset="0"/>
              <a:buChar char="•"/>
              <a:defRPr sz="900">
                <a:solidFill>
                  <a:srgbClr val="293133"/>
                </a:solidFill>
              </a:defRPr>
            </a:lvl4pPr>
            <a:lvl5pPr marL="1538823" indent="-170991">
              <a:buFont typeface="Arial" panose="020B0604020202020204" pitchFamily="34" charset="0"/>
              <a:buChar char="•"/>
              <a:defRPr sz="825">
                <a:solidFill>
                  <a:srgbClr val="29313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4707566" y="1164162"/>
            <a:ext cx="4050527" cy="3374219"/>
          </a:xfrm>
          <a:prstGeom prst="rect">
            <a:avLst/>
          </a:prstGeom>
        </p:spPr>
        <p:txBody>
          <a:bodyPr lIns="0" tIns="0" rIns="0" bIns="0"/>
          <a:lstStyle>
            <a:lvl1pPr marL="256484" indent="-256484">
              <a:buFont typeface="Arial" panose="020B0604020202020204" pitchFamily="34" charset="0"/>
              <a:buChar char="•"/>
              <a:defRPr sz="1425">
                <a:solidFill>
                  <a:srgbClr val="293133"/>
                </a:solidFill>
              </a:defRPr>
            </a:lvl1pPr>
            <a:lvl2pPr marL="555688" indent="-213733">
              <a:buFont typeface="Arial" panose="020B0604020202020204" pitchFamily="34" charset="0"/>
              <a:buChar char="•"/>
              <a:defRPr sz="1125">
                <a:solidFill>
                  <a:srgbClr val="293133"/>
                </a:solidFill>
              </a:defRPr>
            </a:lvl2pPr>
            <a:lvl3pPr marL="854917" indent="-170991">
              <a:buFont typeface="Arial" panose="020B0604020202020204" pitchFamily="34" charset="0"/>
              <a:buChar char="•"/>
              <a:defRPr sz="1125">
                <a:solidFill>
                  <a:srgbClr val="293133"/>
                </a:solidFill>
              </a:defRPr>
            </a:lvl3pPr>
            <a:lvl4pPr marL="1196870" indent="-170991">
              <a:buFont typeface="Arial" panose="020B0604020202020204" pitchFamily="34" charset="0"/>
              <a:buChar char="•"/>
              <a:defRPr sz="900">
                <a:solidFill>
                  <a:srgbClr val="293133"/>
                </a:solidFill>
              </a:defRPr>
            </a:lvl4pPr>
            <a:lvl5pPr marL="1538823" indent="-170991">
              <a:buFont typeface="Arial" panose="020B0604020202020204" pitchFamily="34" charset="0"/>
              <a:buChar char="•"/>
              <a:defRPr sz="825">
                <a:solidFill>
                  <a:srgbClr val="29313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91600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42647" y="215443"/>
            <a:ext cx="8679898" cy="5431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645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7640773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ULNI SLIDE S ANIMA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DC139B-56F1-4EE9-AB4E-8BBFBDBCAD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76056" y="1923678"/>
            <a:ext cx="3852000" cy="471378"/>
          </a:xfrm>
          <a:prstGeom prst="rect">
            <a:avLst/>
          </a:prstGeom>
          <a:noFill/>
        </p:spPr>
        <p:txBody>
          <a:bodyPr lIns="90000" tIns="36000" rIns="90000" bIns="36000" anchor="b"/>
          <a:lstStyle>
            <a:lvl1pPr marL="0" indent="0" algn="r">
              <a:buFont typeface="Arial" panose="020B0604020202020204" pitchFamily="34" charset="0"/>
              <a:buNone/>
              <a:defRPr sz="16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CFFB35C-314B-4B90-B1F9-82CBC58F68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056" y="3399855"/>
            <a:ext cx="2880000" cy="216000"/>
          </a:xfrm>
          <a:prstGeom prst="rect">
            <a:avLst/>
          </a:prstGeom>
          <a:noFill/>
        </p:spPr>
        <p:txBody>
          <a:bodyPr lIns="90000" tIns="36000" rIns="90000" bIns="36000" anchor="t"/>
          <a:lstStyle>
            <a:lvl1pPr marL="0" marR="0" indent="0" algn="r" defTabSz="3424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pPr marL="0" marR="0" lvl="0" indent="0" algn="r" defTabSz="3424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ATUM   </a:t>
            </a:r>
            <a:r>
              <a:rPr lang="cs-CZ" dirty="0"/>
              <a:t>|  </a:t>
            </a:r>
            <a:r>
              <a:rPr lang="en-US" dirty="0"/>
              <a:t>MÍSTO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7486375A-4576-4A86-91A8-BC43675E54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056" y="3149815"/>
            <a:ext cx="2880000" cy="216000"/>
          </a:xfrm>
          <a:prstGeom prst="rect">
            <a:avLst/>
          </a:prstGeom>
          <a:noFill/>
        </p:spPr>
        <p:txBody>
          <a:bodyPr lIns="90000" tIns="36000" rIns="90000" bIns="36000" anchor="ctr"/>
          <a:lstStyle>
            <a:lvl1pPr marL="0" indent="0" algn="r">
              <a:buNone/>
              <a:defRPr sz="800" cap="all" baseline="0">
                <a:solidFill>
                  <a:schemeClr val="tx2"/>
                </a:solidFill>
                <a:latin typeface="Gotham Rounded Book" pitchFamily="50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dirty="0"/>
              <a:t>JMÉNO PREZENTUJÍCÍHO</a:t>
            </a:r>
            <a:r>
              <a:rPr lang="en-US" dirty="0"/>
              <a:t> </a:t>
            </a:r>
            <a:r>
              <a:rPr lang="cs-CZ" dirty="0"/>
              <a:t> |  POZICE</a:t>
            </a:r>
            <a:endParaRPr lang="en-US" dirty="0"/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3E53F59F-A5DA-491B-87EC-28A82565C2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76056" y="2464852"/>
            <a:ext cx="3852000" cy="272637"/>
          </a:xfrm>
          <a:prstGeom prst="rect">
            <a:avLst/>
          </a:prstGeom>
          <a:noFill/>
        </p:spPr>
        <p:txBody>
          <a:bodyPr lIns="90000" tIns="36000" rIns="90000" bIns="36000" anchor="t"/>
          <a:lstStyle>
            <a:lvl1pPr marL="0" indent="0" algn="r">
              <a:buNone/>
              <a:defRPr sz="1200" cap="all" baseline="0">
                <a:solidFill>
                  <a:schemeClr val="tx2"/>
                </a:solidFill>
                <a:latin typeface="Gotham Rounded Book" pitchFamily="50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550151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VERECN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Nadpis 1"/>
          <p:cNvSpPr>
            <a:spLocks noGrp="1"/>
          </p:cNvSpPr>
          <p:nvPr>
            <p:ph type="title" hasCustomPrompt="1"/>
          </p:nvPr>
        </p:nvSpPr>
        <p:spPr>
          <a:xfrm>
            <a:off x="386155" y="2847842"/>
            <a:ext cx="8371183" cy="346239"/>
          </a:xfrm>
          <a:prstGeom prst="rect">
            <a:avLst/>
          </a:prstGeom>
        </p:spPr>
        <p:txBody>
          <a:bodyPr wrap="square" lIns="68571" tIns="34285" rIns="68571" bIns="34285" anchor="t">
            <a:spAutoFit/>
          </a:bodyPr>
          <a:lstStyle>
            <a:lvl1pPr algn="ctr">
              <a:defRPr sz="1800" b="0" cap="all" baseline="0">
                <a:solidFill>
                  <a:schemeClr val="bg1"/>
                </a:solidFill>
                <a:latin typeface="Gotham Rounded Book" pitchFamily="50" charset="0"/>
              </a:defRPr>
            </a:lvl1pPr>
          </a:lstStyle>
          <a:p>
            <a:r>
              <a:rPr lang="cs-CZ" dirty="0"/>
              <a:t>KLIKNUTÍM LZE UPRAVIT STYL</a:t>
            </a:r>
          </a:p>
        </p:txBody>
      </p:sp>
    </p:spTree>
    <p:extLst>
      <p:ext uri="{BB962C8B-B14F-4D97-AF65-F5344CB8AC3E}">
        <p14:creationId xmlns:p14="http://schemas.microsoft.com/office/powerpoint/2010/main" val="254885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bje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 txBox="1">
            <a:spLocks/>
          </p:cNvSpPr>
          <p:nvPr userDrawn="1"/>
        </p:nvSpPr>
        <p:spPr>
          <a:xfrm>
            <a:off x="387004" y="322423"/>
            <a:ext cx="8371183" cy="41186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cs-CZ" sz="1800" dirty="0">
              <a:solidFill>
                <a:sysClr val="windowText" lastClr="000000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7004" y="322347"/>
            <a:ext cx="8371090" cy="41300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7004" y="772534"/>
            <a:ext cx="8371090" cy="23214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425" b="1">
                <a:solidFill>
                  <a:schemeClr val="tx2"/>
                </a:solidFill>
              </a:defRPr>
            </a:lvl1pPr>
          </a:lstStyle>
          <a:p>
            <a:pPr lvl="0"/>
            <a:r>
              <a:rPr lang="cs-CZ" dirty="0"/>
              <a:t>C</a:t>
            </a:r>
            <a:r>
              <a:rPr lang="en-US" dirty="0"/>
              <a:t>lick to edit master text styles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87002" y="1164162"/>
            <a:ext cx="4050527" cy="3374219"/>
          </a:xfrm>
          <a:prstGeom prst="rect">
            <a:avLst/>
          </a:prstGeom>
        </p:spPr>
        <p:txBody>
          <a:bodyPr lIns="0" tIns="0" rIns="0" bIns="0"/>
          <a:lstStyle>
            <a:lvl1pPr marL="256484" indent="-256484">
              <a:buFont typeface="Arial" panose="020B0604020202020204" pitchFamily="34" charset="0"/>
              <a:buChar char="•"/>
              <a:defRPr sz="1425">
                <a:solidFill>
                  <a:srgbClr val="293133"/>
                </a:solidFill>
              </a:defRPr>
            </a:lvl1pPr>
            <a:lvl2pPr marL="555688" indent="-213733">
              <a:buFont typeface="Arial" panose="020B0604020202020204" pitchFamily="34" charset="0"/>
              <a:buChar char="•"/>
              <a:defRPr sz="1125">
                <a:solidFill>
                  <a:srgbClr val="293133"/>
                </a:solidFill>
              </a:defRPr>
            </a:lvl2pPr>
            <a:lvl3pPr marL="854917" indent="-170991">
              <a:buFont typeface="Arial" panose="020B0604020202020204" pitchFamily="34" charset="0"/>
              <a:buChar char="•"/>
              <a:defRPr sz="1125">
                <a:solidFill>
                  <a:srgbClr val="293133"/>
                </a:solidFill>
              </a:defRPr>
            </a:lvl3pPr>
            <a:lvl4pPr marL="1196870" indent="-170991">
              <a:buFont typeface="Arial" panose="020B0604020202020204" pitchFamily="34" charset="0"/>
              <a:buChar char="•"/>
              <a:defRPr sz="900">
                <a:solidFill>
                  <a:srgbClr val="293133"/>
                </a:solidFill>
              </a:defRPr>
            </a:lvl4pPr>
            <a:lvl5pPr marL="1538823" indent="-170991">
              <a:buFont typeface="Arial" panose="020B0604020202020204" pitchFamily="34" charset="0"/>
              <a:buChar char="•"/>
              <a:defRPr sz="825">
                <a:solidFill>
                  <a:srgbClr val="29313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4707566" y="1164162"/>
            <a:ext cx="4050527" cy="3374219"/>
          </a:xfrm>
          <a:prstGeom prst="rect">
            <a:avLst/>
          </a:prstGeom>
        </p:spPr>
        <p:txBody>
          <a:bodyPr lIns="0" tIns="0" rIns="0" bIns="0"/>
          <a:lstStyle>
            <a:lvl1pPr marL="256484" indent="-256484">
              <a:buFont typeface="Arial" panose="020B0604020202020204" pitchFamily="34" charset="0"/>
              <a:buChar char="•"/>
              <a:defRPr sz="1425">
                <a:solidFill>
                  <a:srgbClr val="293133"/>
                </a:solidFill>
              </a:defRPr>
            </a:lvl1pPr>
            <a:lvl2pPr marL="555688" indent="-213733">
              <a:buFont typeface="Arial" panose="020B0604020202020204" pitchFamily="34" charset="0"/>
              <a:buChar char="•"/>
              <a:defRPr sz="1125">
                <a:solidFill>
                  <a:srgbClr val="293133"/>
                </a:solidFill>
              </a:defRPr>
            </a:lvl2pPr>
            <a:lvl3pPr marL="854917" indent="-170991">
              <a:buFont typeface="Arial" panose="020B0604020202020204" pitchFamily="34" charset="0"/>
              <a:buChar char="•"/>
              <a:defRPr sz="1125">
                <a:solidFill>
                  <a:srgbClr val="293133"/>
                </a:solidFill>
              </a:defRPr>
            </a:lvl3pPr>
            <a:lvl4pPr marL="1196870" indent="-170991">
              <a:buFont typeface="Arial" panose="020B0604020202020204" pitchFamily="34" charset="0"/>
              <a:buChar char="•"/>
              <a:defRPr sz="900">
                <a:solidFill>
                  <a:srgbClr val="293133"/>
                </a:solidFill>
              </a:defRPr>
            </a:lvl4pPr>
            <a:lvl5pPr marL="1538823" indent="-170991">
              <a:buFont typeface="Arial" panose="020B0604020202020204" pitchFamily="34" charset="0"/>
              <a:buChar char="•"/>
              <a:defRPr sz="825">
                <a:solidFill>
                  <a:srgbClr val="29313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2781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1"/>
          <p:cNvSpPr txBox="1">
            <a:spLocks/>
          </p:cNvSpPr>
          <p:nvPr userDrawn="1"/>
        </p:nvSpPr>
        <p:spPr>
          <a:xfrm>
            <a:off x="387004" y="322347"/>
            <a:ext cx="8371183" cy="41186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61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7004" y="322347"/>
            <a:ext cx="8371090" cy="41300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7004" y="772534"/>
            <a:ext cx="8371090" cy="23214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350" b="1">
                <a:solidFill>
                  <a:schemeClr val="tx2"/>
                </a:solidFill>
              </a:defRPr>
            </a:lvl1pPr>
          </a:lstStyle>
          <a:p>
            <a:pPr lvl="0"/>
            <a:r>
              <a:rPr lang="cs-CZ" dirty="0" smtClean="0"/>
              <a:t>C</a:t>
            </a:r>
            <a:r>
              <a:rPr lang="en-US" dirty="0" smtClean="0"/>
              <a:t>lick to edit master text styles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87003" y="1164160"/>
            <a:ext cx="8371090" cy="3374219"/>
          </a:xfrm>
          <a:prstGeom prst="rect">
            <a:avLst/>
          </a:prstGeom>
        </p:spPr>
        <p:txBody>
          <a:bodyPr lIns="0" tIns="0" rIns="0" bIns="0"/>
          <a:lstStyle>
            <a:lvl1pPr marL="256826" indent="-256826">
              <a:buFont typeface="Arial" panose="020B0604020202020204" pitchFamily="34" charset="0"/>
              <a:buChar char="•"/>
              <a:defRPr sz="1350">
                <a:solidFill>
                  <a:srgbClr val="293133"/>
                </a:solidFill>
              </a:defRPr>
            </a:lvl1pPr>
            <a:lvl2pPr marL="556456" indent="-214021">
              <a:buFont typeface="Arial" panose="020B0604020202020204" pitchFamily="34" charset="0"/>
              <a:buChar char="•"/>
              <a:defRPr sz="1200">
                <a:solidFill>
                  <a:srgbClr val="293133"/>
                </a:solidFill>
              </a:defRPr>
            </a:lvl2pPr>
            <a:lvl3pPr marL="856085" indent="-171217">
              <a:buFont typeface="Arial" panose="020B0604020202020204" pitchFamily="34" charset="0"/>
              <a:buChar char="•"/>
              <a:defRPr sz="1050">
                <a:solidFill>
                  <a:srgbClr val="293133"/>
                </a:solidFill>
              </a:defRPr>
            </a:lvl3pPr>
            <a:lvl4pPr marL="1198520" indent="-171217">
              <a:buFont typeface="Arial" panose="020B0604020202020204" pitchFamily="34" charset="0"/>
              <a:buChar char="•"/>
              <a:defRPr sz="900">
                <a:solidFill>
                  <a:srgbClr val="293133"/>
                </a:solidFill>
              </a:defRPr>
            </a:lvl4pPr>
            <a:lvl5pPr marL="1540954" indent="-171217">
              <a:buFont typeface="Arial" panose="020B0604020202020204" pitchFamily="34" charset="0"/>
              <a:buChar char="•"/>
              <a:defRPr sz="750">
                <a:solidFill>
                  <a:srgbClr val="29313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426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A_slide_C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 txBox="1">
            <a:spLocks/>
          </p:cNvSpPr>
          <p:nvPr userDrawn="1"/>
        </p:nvSpPr>
        <p:spPr>
          <a:xfrm>
            <a:off x="387004" y="322347"/>
            <a:ext cx="8371183" cy="41186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61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all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7004" y="322347"/>
            <a:ext cx="8371090" cy="41300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7004" y="772534"/>
            <a:ext cx="8371090" cy="23214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350" b="1">
                <a:solidFill>
                  <a:schemeClr val="tx2"/>
                </a:solidFill>
              </a:defRPr>
            </a:lvl1pPr>
          </a:lstStyle>
          <a:p>
            <a:pPr lvl="0"/>
            <a:r>
              <a:rPr lang="cs-CZ" dirty="0" smtClean="0"/>
              <a:t>C</a:t>
            </a:r>
            <a:r>
              <a:rPr lang="en-US" dirty="0" smtClean="0"/>
              <a:t>lick to edit master text styles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87002" y="1164160"/>
            <a:ext cx="4050527" cy="3374219"/>
          </a:xfrm>
          <a:prstGeom prst="rect">
            <a:avLst/>
          </a:prstGeom>
        </p:spPr>
        <p:txBody>
          <a:bodyPr lIns="0" tIns="0" rIns="0" bIns="0"/>
          <a:lstStyle>
            <a:lvl1pPr marL="256826" indent="-256826">
              <a:buFont typeface="Arial" panose="020B0604020202020204" pitchFamily="34" charset="0"/>
              <a:buChar char="•"/>
              <a:defRPr sz="1350">
                <a:solidFill>
                  <a:srgbClr val="293133"/>
                </a:solidFill>
              </a:defRPr>
            </a:lvl1pPr>
            <a:lvl2pPr marL="556456" indent="-214021">
              <a:buFont typeface="Arial" panose="020B0604020202020204" pitchFamily="34" charset="0"/>
              <a:buChar char="•"/>
              <a:defRPr sz="1200">
                <a:solidFill>
                  <a:srgbClr val="293133"/>
                </a:solidFill>
              </a:defRPr>
            </a:lvl2pPr>
            <a:lvl3pPr marL="856085" indent="-171217">
              <a:buFont typeface="Arial" panose="020B0604020202020204" pitchFamily="34" charset="0"/>
              <a:buChar char="•"/>
              <a:defRPr sz="1050">
                <a:solidFill>
                  <a:srgbClr val="293133"/>
                </a:solidFill>
              </a:defRPr>
            </a:lvl3pPr>
            <a:lvl4pPr marL="1198520" indent="-171217">
              <a:buFont typeface="Arial" panose="020B0604020202020204" pitchFamily="34" charset="0"/>
              <a:buChar char="•"/>
              <a:defRPr sz="900">
                <a:solidFill>
                  <a:srgbClr val="293133"/>
                </a:solidFill>
              </a:defRPr>
            </a:lvl4pPr>
            <a:lvl5pPr marL="1540954" indent="-171217">
              <a:buFont typeface="Arial" panose="020B0604020202020204" pitchFamily="34" charset="0"/>
              <a:buChar char="•"/>
              <a:defRPr sz="750">
                <a:solidFill>
                  <a:srgbClr val="29313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707566" y="1164160"/>
            <a:ext cx="4050527" cy="3374219"/>
          </a:xfrm>
          <a:prstGeom prst="rect">
            <a:avLst/>
          </a:prstGeom>
        </p:spPr>
        <p:txBody>
          <a:bodyPr lIns="0" tIns="0" rIns="0" bIns="0"/>
          <a:lstStyle>
            <a:lvl1pPr marL="256826" indent="-256826">
              <a:buFont typeface="Arial" panose="020B0604020202020204" pitchFamily="34" charset="0"/>
              <a:buChar char="•"/>
              <a:defRPr sz="1350">
                <a:solidFill>
                  <a:srgbClr val="293133"/>
                </a:solidFill>
              </a:defRPr>
            </a:lvl1pPr>
            <a:lvl2pPr marL="556456" indent="-214021">
              <a:buFont typeface="Arial" panose="020B0604020202020204" pitchFamily="34" charset="0"/>
              <a:buChar char="•"/>
              <a:defRPr sz="1200">
                <a:solidFill>
                  <a:srgbClr val="293133"/>
                </a:solidFill>
              </a:defRPr>
            </a:lvl2pPr>
            <a:lvl3pPr marL="856085" indent="-171217">
              <a:buFont typeface="Arial" panose="020B0604020202020204" pitchFamily="34" charset="0"/>
              <a:buChar char="•"/>
              <a:defRPr sz="1050">
                <a:solidFill>
                  <a:srgbClr val="293133"/>
                </a:solidFill>
              </a:defRPr>
            </a:lvl3pPr>
            <a:lvl4pPr marL="1198520" indent="-171217">
              <a:buFont typeface="Arial" panose="020B0604020202020204" pitchFamily="34" charset="0"/>
              <a:buChar char="•"/>
              <a:defRPr sz="900">
                <a:solidFill>
                  <a:srgbClr val="293133"/>
                </a:solidFill>
              </a:defRPr>
            </a:lvl4pPr>
            <a:lvl5pPr marL="1540954" indent="-171217">
              <a:buFont typeface="Arial" panose="020B0604020202020204" pitchFamily="34" charset="0"/>
              <a:buChar char="•"/>
              <a:defRPr sz="750">
                <a:solidFill>
                  <a:srgbClr val="29313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9092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 txBox="1">
            <a:spLocks/>
          </p:cNvSpPr>
          <p:nvPr userDrawn="1"/>
        </p:nvSpPr>
        <p:spPr>
          <a:xfrm>
            <a:off x="387004" y="322347"/>
            <a:ext cx="8371183" cy="41186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61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7004" y="322347"/>
            <a:ext cx="8371090" cy="41300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7004" y="772534"/>
            <a:ext cx="8371090" cy="23214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350" b="1">
                <a:solidFill>
                  <a:schemeClr val="tx2"/>
                </a:solidFill>
              </a:defRPr>
            </a:lvl1pPr>
          </a:lstStyle>
          <a:p>
            <a:pPr lvl="0"/>
            <a:r>
              <a:rPr lang="cs-CZ" dirty="0" smtClean="0"/>
              <a:t>C</a:t>
            </a:r>
            <a:r>
              <a:rPr lang="en-US" dirty="0" smtClean="0"/>
              <a:t>lick to edit master text styl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7003" y="1164160"/>
            <a:ext cx="8371090" cy="3374219"/>
          </a:xfrm>
          <a:prstGeom prst="rect">
            <a:avLst/>
          </a:prstGeom>
        </p:spPr>
        <p:txBody>
          <a:bodyPr lIns="0" tIns="0" rIns="0" bIns="0"/>
          <a:lstStyle>
            <a:lvl1pPr marL="256826" indent="-256826">
              <a:buFont typeface="Arial" panose="020B0604020202020204" pitchFamily="34" charset="0"/>
              <a:buChar char="•"/>
              <a:defRPr sz="1350">
                <a:solidFill>
                  <a:srgbClr val="293133"/>
                </a:solidFill>
              </a:defRPr>
            </a:lvl1pPr>
            <a:lvl2pPr marL="556456" indent="-214021">
              <a:buFont typeface="Arial" panose="020B0604020202020204" pitchFamily="34" charset="0"/>
              <a:buChar char="•"/>
              <a:defRPr sz="1050">
                <a:solidFill>
                  <a:srgbClr val="293133"/>
                </a:solidFill>
              </a:defRPr>
            </a:lvl2pPr>
            <a:lvl3pPr marL="856085" indent="-171217">
              <a:buFont typeface="Arial" panose="020B0604020202020204" pitchFamily="34" charset="0"/>
              <a:buChar char="•"/>
              <a:defRPr sz="900">
                <a:solidFill>
                  <a:srgbClr val="293133"/>
                </a:solidFill>
              </a:defRPr>
            </a:lvl3pPr>
            <a:lvl4pPr marL="1198520" indent="-171217">
              <a:buFont typeface="Arial" panose="020B0604020202020204" pitchFamily="34" charset="0"/>
              <a:buChar char="•"/>
              <a:defRPr sz="900">
                <a:solidFill>
                  <a:srgbClr val="293133"/>
                </a:solidFill>
              </a:defRPr>
            </a:lvl4pPr>
            <a:lvl5pPr marL="1540954" indent="-171217">
              <a:buFont typeface="Arial" panose="020B0604020202020204" pitchFamily="34" charset="0"/>
              <a:buChar char="•"/>
              <a:defRPr sz="750">
                <a:solidFill>
                  <a:srgbClr val="29313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6513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 txBox="1">
            <a:spLocks/>
          </p:cNvSpPr>
          <p:nvPr userDrawn="1"/>
        </p:nvSpPr>
        <p:spPr>
          <a:xfrm>
            <a:off x="387004" y="322347"/>
            <a:ext cx="8371183" cy="41186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61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all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7004" y="322347"/>
            <a:ext cx="8371090" cy="41300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7004" y="772534"/>
            <a:ext cx="8371090" cy="23214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350" b="1">
                <a:solidFill>
                  <a:schemeClr val="tx2"/>
                </a:solidFill>
              </a:defRPr>
            </a:lvl1pPr>
          </a:lstStyle>
          <a:p>
            <a:pPr lvl="0"/>
            <a:r>
              <a:rPr lang="cs-CZ" dirty="0" smtClean="0"/>
              <a:t>C</a:t>
            </a:r>
            <a:r>
              <a:rPr lang="en-US" dirty="0" smtClean="0"/>
              <a:t>lick to edit master text styles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87002" y="1164160"/>
            <a:ext cx="4050527" cy="3374219"/>
          </a:xfrm>
          <a:prstGeom prst="rect">
            <a:avLst/>
          </a:prstGeom>
        </p:spPr>
        <p:txBody>
          <a:bodyPr lIns="0" tIns="0" rIns="0" bIns="0"/>
          <a:lstStyle>
            <a:lvl1pPr marL="256826" indent="-256826">
              <a:buFont typeface="Arial" panose="020B0604020202020204" pitchFamily="34" charset="0"/>
              <a:buChar char="•"/>
              <a:defRPr sz="1350">
                <a:solidFill>
                  <a:srgbClr val="293133"/>
                </a:solidFill>
              </a:defRPr>
            </a:lvl1pPr>
            <a:lvl2pPr marL="556456" indent="-214021">
              <a:buFont typeface="Arial" panose="020B0604020202020204" pitchFamily="34" charset="0"/>
              <a:buChar char="•"/>
              <a:defRPr sz="1200">
                <a:solidFill>
                  <a:srgbClr val="293133"/>
                </a:solidFill>
              </a:defRPr>
            </a:lvl2pPr>
            <a:lvl3pPr marL="856085" indent="-171217">
              <a:buFont typeface="Arial" panose="020B0604020202020204" pitchFamily="34" charset="0"/>
              <a:buChar char="•"/>
              <a:defRPr sz="1050">
                <a:solidFill>
                  <a:srgbClr val="293133"/>
                </a:solidFill>
              </a:defRPr>
            </a:lvl3pPr>
            <a:lvl4pPr marL="1198520" indent="-171217">
              <a:buFont typeface="Arial" panose="020B0604020202020204" pitchFamily="34" charset="0"/>
              <a:buChar char="•"/>
              <a:defRPr sz="900">
                <a:solidFill>
                  <a:srgbClr val="293133"/>
                </a:solidFill>
              </a:defRPr>
            </a:lvl4pPr>
            <a:lvl5pPr marL="1540954" indent="-171217">
              <a:buFont typeface="Arial" panose="020B0604020202020204" pitchFamily="34" charset="0"/>
              <a:buChar char="•"/>
              <a:defRPr sz="750">
                <a:solidFill>
                  <a:srgbClr val="29313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4707566" y="1164160"/>
            <a:ext cx="4050527" cy="3374219"/>
          </a:xfrm>
          <a:prstGeom prst="rect">
            <a:avLst/>
          </a:prstGeom>
        </p:spPr>
        <p:txBody>
          <a:bodyPr lIns="0" tIns="0" rIns="0" bIns="0"/>
          <a:lstStyle>
            <a:lvl1pPr marL="256826" indent="-256826">
              <a:buFont typeface="Arial" panose="020B0604020202020204" pitchFamily="34" charset="0"/>
              <a:buChar char="•"/>
              <a:defRPr sz="1350">
                <a:solidFill>
                  <a:srgbClr val="293133"/>
                </a:solidFill>
              </a:defRPr>
            </a:lvl1pPr>
            <a:lvl2pPr marL="556456" indent="-214021">
              <a:buFont typeface="Arial" panose="020B0604020202020204" pitchFamily="34" charset="0"/>
              <a:buChar char="•"/>
              <a:defRPr sz="1200">
                <a:solidFill>
                  <a:srgbClr val="293133"/>
                </a:solidFill>
              </a:defRPr>
            </a:lvl2pPr>
            <a:lvl3pPr marL="856085" indent="-171217">
              <a:buFont typeface="Arial" panose="020B0604020202020204" pitchFamily="34" charset="0"/>
              <a:buChar char="•"/>
              <a:defRPr sz="1050">
                <a:solidFill>
                  <a:srgbClr val="293133"/>
                </a:solidFill>
              </a:defRPr>
            </a:lvl3pPr>
            <a:lvl4pPr marL="1198520" indent="-171217">
              <a:buFont typeface="Arial" panose="020B0604020202020204" pitchFamily="34" charset="0"/>
              <a:buChar char="•"/>
              <a:defRPr sz="900">
                <a:solidFill>
                  <a:srgbClr val="293133"/>
                </a:solidFill>
              </a:defRPr>
            </a:lvl4pPr>
            <a:lvl5pPr marL="1540954" indent="-171217">
              <a:buFont typeface="Arial" panose="020B0604020202020204" pitchFamily="34" charset="0"/>
              <a:buChar char="•"/>
              <a:defRPr sz="750">
                <a:solidFill>
                  <a:srgbClr val="29313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8186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ULNI SLIDE S ANIMA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DC139B-56F1-4EE9-AB4E-8BBFBDBCAD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76056" y="1923678"/>
            <a:ext cx="3852000" cy="471378"/>
          </a:xfrm>
          <a:prstGeom prst="rect">
            <a:avLst/>
          </a:prstGeom>
          <a:noFill/>
        </p:spPr>
        <p:txBody>
          <a:bodyPr lIns="90000" tIns="36000" rIns="90000" bIns="36000" anchor="b"/>
          <a:lstStyle>
            <a:lvl1pPr marL="0" indent="0" algn="r">
              <a:buFont typeface="Arial" panose="020B0604020202020204" pitchFamily="34" charset="0"/>
              <a:buNone/>
              <a:defRPr sz="16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endParaRPr lang="en-US" b="0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9CFFB35C-314B-4B90-B1F9-82CBC58F68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8056" y="3399855"/>
            <a:ext cx="2880000" cy="216000"/>
          </a:xfrm>
          <a:prstGeom prst="rect">
            <a:avLst/>
          </a:prstGeom>
          <a:noFill/>
        </p:spPr>
        <p:txBody>
          <a:bodyPr lIns="90000" tIns="36000" rIns="90000" bIns="36000" anchor="t"/>
          <a:lstStyle>
            <a:lvl1pPr marL="0" marR="0" indent="0" algn="r" defTabSz="3424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None/>
              <a:tabLst/>
              <a:defRPr sz="80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pPr marL="0" marR="0" lvl="0" indent="0" algn="r" defTabSz="34247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ATUM   </a:t>
            </a:r>
            <a:r>
              <a:rPr lang="cs-CZ" dirty="0"/>
              <a:t>|  </a:t>
            </a:r>
            <a:r>
              <a:rPr lang="en-US" dirty="0"/>
              <a:t>MÍSTO</a:t>
            </a:r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7486375A-4576-4A86-91A8-BC43675E54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48056" y="3149815"/>
            <a:ext cx="2880000" cy="216000"/>
          </a:xfrm>
          <a:prstGeom prst="rect">
            <a:avLst/>
          </a:prstGeom>
          <a:noFill/>
        </p:spPr>
        <p:txBody>
          <a:bodyPr lIns="90000" tIns="36000" rIns="90000" bIns="36000" anchor="ctr"/>
          <a:lstStyle>
            <a:lvl1pPr marL="0" indent="0" algn="r">
              <a:buNone/>
              <a:defRPr sz="800" cap="all" baseline="0">
                <a:solidFill>
                  <a:schemeClr val="tx2"/>
                </a:solidFill>
                <a:latin typeface="Gotham Rounded Book" pitchFamily="50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cs-CZ" dirty="0"/>
              <a:t>JMÉNO PREZENTUJÍCÍHO</a:t>
            </a:r>
            <a:r>
              <a:rPr lang="en-US" dirty="0"/>
              <a:t> </a:t>
            </a:r>
            <a:r>
              <a:rPr lang="cs-CZ" dirty="0"/>
              <a:t> |  POZICE</a:t>
            </a:r>
            <a:endParaRPr lang="en-US" dirty="0"/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3E53F59F-A5DA-491B-87EC-28A82565C2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76056" y="2464852"/>
            <a:ext cx="3852000" cy="272637"/>
          </a:xfrm>
          <a:prstGeom prst="rect">
            <a:avLst/>
          </a:prstGeom>
          <a:noFill/>
        </p:spPr>
        <p:txBody>
          <a:bodyPr lIns="90000" tIns="36000" rIns="90000" bIns="36000" anchor="t"/>
          <a:lstStyle>
            <a:lvl1pPr marL="0" indent="0" algn="r">
              <a:buNone/>
              <a:defRPr sz="1200" cap="all" baseline="0">
                <a:solidFill>
                  <a:schemeClr val="tx2"/>
                </a:solidFill>
                <a:latin typeface="Gotham Rounded Book" pitchFamily="50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698510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A_slide_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 txBox="1">
            <a:spLocks/>
          </p:cNvSpPr>
          <p:nvPr userDrawn="1"/>
        </p:nvSpPr>
        <p:spPr>
          <a:xfrm>
            <a:off x="387004" y="322347"/>
            <a:ext cx="8371183" cy="41186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61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all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7004" y="322347"/>
            <a:ext cx="8371090" cy="41300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7004" y="772534"/>
            <a:ext cx="8371090" cy="23214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350" b="1">
                <a:solidFill>
                  <a:schemeClr val="tx2"/>
                </a:solidFill>
              </a:defRPr>
            </a:lvl1pPr>
          </a:lstStyle>
          <a:p>
            <a:pPr lvl="0"/>
            <a:r>
              <a:rPr lang="cs-CZ" dirty="0" smtClean="0"/>
              <a:t>C</a:t>
            </a:r>
            <a:r>
              <a:rPr lang="en-US" dirty="0" smtClean="0"/>
              <a:t>lick to edit master text styles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4707566" y="1164160"/>
            <a:ext cx="4050527" cy="3374219"/>
          </a:xfrm>
          <a:prstGeom prst="rect">
            <a:avLst/>
          </a:prstGeom>
        </p:spPr>
        <p:txBody>
          <a:bodyPr lIns="0" tIns="0" rIns="0" bIns="0"/>
          <a:lstStyle>
            <a:lvl1pPr marL="256826" indent="-256826">
              <a:buFont typeface="Arial" panose="020B0604020202020204" pitchFamily="34" charset="0"/>
              <a:buChar char="•"/>
              <a:defRPr sz="1350">
                <a:solidFill>
                  <a:srgbClr val="293133"/>
                </a:solidFill>
              </a:defRPr>
            </a:lvl1pPr>
            <a:lvl2pPr marL="556456" indent="-214021">
              <a:buFont typeface="Arial" panose="020B0604020202020204" pitchFamily="34" charset="0"/>
              <a:buChar char="•"/>
              <a:defRPr sz="1200">
                <a:solidFill>
                  <a:srgbClr val="293133"/>
                </a:solidFill>
              </a:defRPr>
            </a:lvl2pPr>
            <a:lvl3pPr marL="856085" indent="-171217">
              <a:buFont typeface="Arial" panose="020B0604020202020204" pitchFamily="34" charset="0"/>
              <a:buChar char="•"/>
              <a:defRPr sz="1050">
                <a:solidFill>
                  <a:srgbClr val="293133"/>
                </a:solidFill>
              </a:defRPr>
            </a:lvl3pPr>
            <a:lvl4pPr marL="1198520" indent="-171217">
              <a:buFont typeface="Arial" panose="020B0604020202020204" pitchFamily="34" charset="0"/>
              <a:buChar char="•"/>
              <a:defRPr sz="900">
                <a:solidFill>
                  <a:srgbClr val="293133"/>
                </a:solidFill>
              </a:defRPr>
            </a:lvl4pPr>
            <a:lvl5pPr marL="1540954" indent="-171217">
              <a:buFont typeface="Arial" panose="020B0604020202020204" pitchFamily="34" charset="0"/>
              <a:buChar char="•"/>
              <a:defRPr sz="750">
                <a:solidFill>
                  <a:srgbClr val="29313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4"/>
          </p:nvPr>
        </p:nvSpPr>
        <p:spPr>
          <a:xfrm>
            <a:off x="387004" y="1164160"/>
            <a:ext cx="4050527" cy="3374219"/>
          </a:xfrm>
          <a:prstGeom prst="rect">
            <a:avLst/>
          </a:prstGeom>
        </p:spPr>
        <p:txBody>
          <a:bodyPr lIns="0" tIns="0" rIns="0" bIns="0"/>
          <a:lstStyle>
            <a:lvl1pPr marL="256826" indent="-256826">
              <a:buFont typeface="Arial" panose="020B0604020202020204" pitchFamily="34" charset="0"/>
              <a:buChar char="•"/>
              <a:defRPr sz="1350">
                <a:solidFill>
                  <a:srgbClr val="293133"/>
                </a:solidFill>
              </a:defRPr>
            </a:lvl1pPr>
            <a:lvl2pPr marL="556456" indent="-214021">
              <a:buFont typeface="Arial" panose="020B0604020202020204" pitchFamily="34" charset="0"/>
              <a:buChar char="•"/>
              <a:defRPr sz="1200">
                <a:solidFill>
                  <a:srgbClr val="293133"/>
                </a:solidFill>
              </a:defRPr>
            </a:lvl2pPr>
            <a:lvl3pPr marL="856085" indent="-171217">
              <a:buFont typeface="Arial" panose="020B0604020202020204" pitchFamily="34" charset="0"/>
              <a:buChar char="•"/>
              <a:defRPr sz="1050">
                <a:solidFill>
                  <a:srgbClr val="293133"/>
                </a:solidFill>
              </a:defRPr>
            </a:lvl3pPr>
            <a:lvl4pPr marL="1198520" indent="-171217">
              <a:buFont typeface="Arial" panose="020B0604020202020204" pitchFamily="34" charset="0"/>
              <a:buChar char="•"/>
              <a:defRPr sz="900">
                <a:solidFill>
                  <a:srgbClr val="293133"/>
                </a:solidFill>
              </a:defRPr>
            </a:lvl4pPr>
            <a:lvl5pPr marL="1540954" indent="-171217">
              <a:buFont typeface="Arial" panose="020B0604020202020204" pitchFamily="34" charset="0"/>
              <a:buChar char="•"/>
              <a:defRPr sz="750">
                <a:solidFill>
                  <a:srgbClr val="29313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29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A_slide_C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 txBox="1">
            <a:spLocks/>
          </p:cNvSpPr>
          <p:nvPr userDrawn="1"/>
        </p:nvSpPr>
        <p:spPr>
          <a:xfrm>
            <a:off x="387004" y="322347"/>
            <a:ext cx="8371183" cy="41186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61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all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7004" y="322347"/>
            <a:ext cx="8371090" cy="41300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7004" y="772534"/>
            <a:ext cx="8371090" cy="232146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350" b="1">
                <a:solidFill>
                  <a:schemeClr val="tx2"/>
                </a:solidFill>
              </a:defRPr>
            </a:lvl1pPr>
          </a:lstStyle>
          <a:p>
            <a:pPr lvl="0"/>
            <a:r>
              <a:rPr lang="cs-CZ" dirty="0" smtClean="0"/>
              <a:t>C</a:t>
            </a:r>
            <a:r>
              <a:rPr lang="en-US" dirty="0" smtClean="0"/>
              <a:t>lick to edit master text styles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87002" y="1164160"/>
            <a:ext cx="2025264" cy="3374219"/>
          </a:xfrm>
          <a:prstGeom prst="rect">
            <a:avLst/>
          </a:prstGeom>
        </p:spPr>
        <p:txBody>
          <a:bodyPr lIns="0" tIns="0" rIns="0" bIns="0"/>
          <a:lstStyle>
            <a:lvl1pPr marL="256826" indent="-256826">
              <a:buFont typeface="Arial" panose="020B0604020202020204" pitchFamily="34" charset="0"/>
              <a:buChar char="•"/>
              <a:defRPr sz="1350">
                <a:solidFill>
                  <a:srgbClr val="293133"/>
                </a:solidFill>
              </a:defRPr>
            </a:lvl1pPr>
            <a:lvl2pPr marL="556456" indent="-214021">
              <a:buFont typeface="Arial" panose="020B0604020202020204" pitchFamily="34" charset="0"/>
              <a:buChar char="•"/>
              <a:defRPr sz="1200">
                <a:solidFill>
                  <a:srgbClr val="293133"/>
                </a:solidFill>
              </a:defRPr>
            </a:lvl2pPr>
            <a:lvl3pPr marL="856085" indent="-171217">
              <a:buFont typeface="Arial" panose="020B0604020202020204" pitchFamily="34" charset="0"/>
              <a:buChar char="•"/>
              <a:defRPr sz="1050">
                <a:solidFill>
                  <a:srgbClr val="293133"/>
                </a:solidFill>
              </a:defRPr>
            </a:lvl3pPr>
            <a:lvl4pPr marL="1198520" indent="-171217">
              <a:buFont typeface="Arial" panose="020B0604020202020204" pitchFamily="34" charset="0"/>
              <a:buChar char="•"/>
              <a:defRPr sz="900">
                <a:solidFill>
                  <a:srgbClr val="293133"/>
                </a:solidFill>
              </a:defRPr>
            </a:lvl4pPr>
            <a:lvl5pPr marL="1540954" indent="-171217">
              <a:buFont typeface="Arial" panose="020B0604020202020204" pitchFamily="34" charset="0"/>
              <a:buChar char="•"/>
              <a:defRPr sz="750">
                <a:solidFill>
                  <a:srgbClr val="29313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732830" y="1164160"/>
            <a:ext cx="2025264" cy="3374219"/>
          </a:xfrm>
          <a:prstGeom prst="rect">
            <a:avLst/>
          </a:prstGeom>
        </p:spPr>
        <p:txBody>
          <a:bodyPr lIns="0" tIns="0" rIns="0" bIns="0"/>
          <a:lstStyle>
            <a:lvl1pPr marL="256826" indent="-256826">
              <a:buFont typeface="Arial" panose="020B0604020202020204" pitchFamily="34" charset="0"/>
              <a:buChar char="•"/>
              <a:defRPr sz="1350">
                <a:solidFill>
                  <a:srgbClr val="293133"/>
                </a:solidFill>
              </a:defRPr>
            </a:lvl1pPr>
            <a:lvl2pPr marL="556456" indent="-214021">
              <a:buFont typeface="Arial" panose="020B0604020202020204" pitchFamily="34" charset="0"/>
              <a:buChar char="•"/>
              <a:defRPr sz="1200">
                <a:solidFill>
                  <a:srgbClr val="293133"/>
                </a:solidFill>
              </a:defRPr>
            </a:lvl2pPr>
            <a:lvl3pPr marL="856085" indent="-171217">
              <a:buFont typeface="Arial" panose="020B0604020202020204" pitchFamily="34" charset="0"/>
              <a:buChar char="•"/>
              <a:defRPr sz="1050">
                <a:solidFill>
                  <a:srgbClr val="293133"/>
                </a:solidFill>
              </a:defRPr>
            </a:lvl3pPr>
            <a:lvl4pPr marL="1198520" indent="-171217">
              <a:buFont typeface="Arial" panose="020B0604020202020204" pitchFamily="34" charset="0"/>
              <a:buChar char="•"/>
              <a:defRPr sz="900">
                <a:solidFill>
                  <a:srgbClr val="293133"/>
                </a:solidFill>
              </a:defRPr>
            </a:lvl4pPr>
            <a:lvl5pPr marL="1540954" indent="-171217">
              <a:buFont typeface="Arial" panose="020B0604020202020204" pitchFamily="34" charset="0"/>
              <a:buChar char="•"/>
              <a:defRPr sz="750">
                <a:solidFill>
                  <a:srgbClr val="29313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502278" y="1164160"/>
            <a:ext cx="2025264" cy="3374219"/>
          </a:xfrm>
          <a:prstGeom prst="rect">
            <a:avLst/>
          </a:prstGeom>
        </p:spPr>
        <p:txBody>
          <a:bodyPr lIns="0" tIns="0" rIns="0" bIns="0"/>
          <a:lstStyle>
            <a:lvl1pPr marL="256826" indent="-256826">
              <a:buFont typeface="Arial" panose="020B0604020202020204" pitchFamily="34" charset="0"/>
              <a:buChar char="•"/>
              <a:defRPr sz="1350">
                <a:solidFill>
                  <a:srgbClr val="293133"/>
                </a:solidFill>
              </a:defRPr>
            </a:lvl1pPr>
            <a:lvl2pPr marL="556456" indent="-214021">
              <a:buFont typeface="Arial" panose="020B0604020202020204" pitchFamily="34" charset="0"/>
              <a:buChar char="•"/>
              <a:defRPr sz="1200">
                <a:solidFill>
                  <a:srgbClr val="293133"/>
                </a:solidFill>
              </a:defRPr>
            </a:lvl2pPr>
            <a:lvl3pPr marL="856085" indent="-171217">
              <a:buFont typeface="Arial" panose="020B0604020202020204" pitchFamily="34" charset="0"/>
              <a:buChar char="•"/>
              <a:defRPr sz="1050">
                <a:solidFill>
                  <a:srgbClr val="293133"/>
                </a:solidFill>
              </a:defRPr>
            </a:lvl3pPr>
            <a:lvl4pPr marL="1198520" indent="-171217">
              <a:buFont typeface="Arial" panose="020B0604020202020204" pitchFamily="34" charset="0"/>
              <a:buChar char="•"/>
              <a:defRPr sz="900">
                <a:solidFill>
                  <a:srgbClr val="293133"/>
                </a:solidFill>
              </a:defRPr>
            </a:lvl4pPr>
            <a:lvl5pPr marL="1540954" indent="-171217">
              <a:buFont typeface="Arial" panose="020B0604020202020204" pitchFamily="34" charset="0"/>
              <a:buChar char="•"/>
              <a:defRPr sz="750">
                <a:solidFill>
                  <a:srgbClr val="29313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617554" y="1164160"/>
            <a:ext cx="2025264" cy="3374219"/>
          </a:xfrm>
          <a:prstGeom prst="rect">
            <a:avLst/>
          </a:prstGeom>
        </p:spPr>
        <p:txBody>
          <a:bodyPr lIns="0" tIns="0" rIns="0" bIns="0"/>
          <a:lstStyle>
            <a:lvl1pPr marL="256826" indent="-256826">
              <a:buFont typeface="Arial" panose="020B0604020202020204" pitchFamily="34" charset="0"/>
              <a:buChar char="•"/>
              <a:defRPr sz="1350">
                <a:solidFill>
                  <a:srgbClr val="293133"/>
                </a:solidFill>
              </a:defRPr>
            </a:lvl1pPr>
            <a:lvl2pPr marL="556456" indent="-214021">
              <a:buFont typeface="Arial" panose="020B0604020202020204" pitchFamily="34" charset="0"/>
              <a:buChar char="•"/>
              <a:defRPr sz="1200">
                <a:solidFill>
                  <a:srgbClr val="293133"/>
                </a:solidFill>
              </a:defRPr>
            </a:lvl2pPr>
            <a:lvl3pPr marL="856085" indent="-171217">
              <a:buFont typeface="Arial" panose="020B0604020202020204" pitchFamily="34" charset="0"/>
              <a:buChar char="•"/>
              <a:defRPr sz="1050">
                <a:solidFill>
                  <a:srgbClr val="293133"/>
                </a:solidFill>
              </a:defRPr>
            </a:lvl3pPr>
            <a:lvl4pPr marL="1198520" indent="-171217">
              <a:buFont typeface="Arial" panose="020B0604020202020204" pitchFamily="34" charset="0"/>
              <a:buChar char="•"/>
              <a:defRPr sz="900">
                <a:solidFill>
                  <a:srgbClr val="293133"/>
                </a:solidFill>
              </a:defRPr>
            </a:lvl4pPr>
            <a:lvl5pPr marL="1540954" indent="-171217">
              <a:buFont typeface="Arial" panose="020B0604020202020204" pitchFamily="34" charset="0"/>
              <a:buChar char="•"/>
              <a:defRPr sz="750">
                <a:solidFill>
                  <a:srgbClr val="293133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4409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QA_slide_C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4545" y="624371"/>
            <a:ext cx="4550277" cy="3780000"/>
          </a:xfrm>
          <a:prstGeom prst="rect">
            <a:avLst/>
          </a:prstGeom>
        </p:spPr>
      </p:pic>
      <p:sp>
        <p:nvSpPr>
          <p:cNvPr id="2" name="TextovéPole 1"/>
          <p:cNvSpPr txBox="1"/>
          <p:nvPr userDrawn="1"/>
        </p:nvSpPr>
        <p:spPr>
          <a:xfrm>
            <a:off x="457200" y="539828"/>
            <a:ext cx="4074718" cy="413915"/>
          </a:xfrm>
          <a:prstGeom prst="rect">
            <a:avLst/>
          </a:prstGeom>
          <a:noFill/>
        </p:spPr>
        <p:txBody>
          <a:bodyPr wrap="square" lIns="68480" tIns="34242" rIns="68480" bIns="34242" rtlCol="0">
            <a:noAutofit/>
          </a:bodyPr>
          <a:lstStyle/>
          <a:p>
            <a:pPr>
              <a:lnSpc>
                <a:spcPct val="110000"/>
              </a:lnSpc>
            </a:pPr>
            <a:r>
              <a:rPr kumimoji="0" lang="cs-CZ" sz="2324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</a:rPr>
              <a:t>Otázky a </a:t>
            </a:r>
            <a:r>
              <a:rPr kumimoji="0" lang="cs-CZ" sz="2324" b="1" i="0" u="none" strike="noStrike" kern="1200" cap="none" spc="0" normalizeH="0" baseline="0" noProof="0" dirty="0" smtClean="0">
                <a:ln>
                  <a:noFill/>
                </a:ln>
                <a:solidFill>
                  <a:srgbClr val="F99D1C"/>
                </a:solidFill>
                <a:effectLst/>
                <a:uLnTx/>
                <a:uFillTx/>
                <a:latin typeface="+mn-lt"/>
              </a:rPr>
              <a:t>odpovědi</a:t>
            </a:r>
            <a:endParaRPr lang="cs-CZ" sz="2324" b="1" dirty="0"/>
          </a:p>
        </p:txBody>
      </p:sp>
      <p:pic>
        <p:nvPicPr>
          <p:cNvPr id="6" name="Picture 5" descr="triangle.png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336" y="799049"/>
            <a:ext cx="216000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570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7055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US" sz="135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29601" y="224314"/>
            <a:ext cx="457200" cy="273844"/>
          </a:xfrm>
          <a:prstGeom prst="rect">
            <a:avLst/>
          </a:prstGeom>
        </p:spPr>
        <p:txBody>
          <a:bodyPr lIns="121917" tIns="60958" rIns="121917" bIns="60958" anchor="b"/>
          <a:lstStyle>
            <a:lvl1pPr algn="r">
              <a:defRPr sz="1125" b="1" i="0">
                <a:latin typeface="Arial" charset="0"/>
                <a:ea typeface="Arial" charset="0"/>
                <a:cs typeface="Arial" charset="0"/>
              </a:defRPr>
            </a:lvl1pPr>
          </a:lstStyle>
          <a:p>
            <a:fld id="{7A067BDE-D15A-F14B-8A8C-9548B2E363B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215523"/>
            <a:ext cx="5918200" cy="274637"/>
          </a:xfrm>
          <a:prstGeom prst="rect">
            <a:avLst/>
          </a:prstGeom>
        </p:spPr>
        <p:txBody>
          <a:bodyPr lIns="121917" tIns="60958" rIns="121917" bIns="60958" anchor="ctr" anchorCtr="0">
            <a:noAutofit/>
          </a:bodyPr>
          <a:lstStyle>
            <a:lvl1pPr marL="0" indent="0">
              <a:lnSpc>
                <a:spcPct val="95000"/>
              </a:lnSpc>
              <a:buNone/>
              <a:defRPr sz="1800" b="1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s-ES" dirty="0" err="1"/>
              <a:t>Edit</a:t>
            </a:r>
            <a:r>
              <a:rPr lang="es-ES" dirty="0"/>
              <a:t> </a:t>
            </a:r>
            <a:r>
              <a:rPr lang="es-ES" dirty="0" err="1"/>
              <a:t>This</a:t>
            </a:r>
            <a:r>
              <a:rPr lang="es-ES" dirty="0"/>
              <a:t> </a:t>
            </a:r>
            <a:r>
              <a:rPr lang="es-ES" dirty="0" err="1"/>
              <a:t>Presentation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436563" y="855296"/>
            <a:ext cx="8270875" cy="3732220"/>
          </a:xfrm>
          <a:prstGeom prst="rect">
            <a:avLst/>
          </a:prstGeom>
        </p:spPr>
        <p:txBody>
          <a:bodyPr lIns="121917" tIns="60958" rIns="121917" bIns="60958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C134A7F-52DE-F14B-B446-9DC32B28BA57}"/>
              </a:ext>
            </a:extLst>
          </p:cNvPr>
          <p:cNvSpPr txBox="1"/>
          <p:nvPr userDrawn="1"/>
        </p:nvSpPr>
        <p:spPr>
          <a:xfrm>
            <a:off x="2675469" y="4847471"/>
            <a:ext cx="5427133" cy="242350"/>
          </a:xfrm>
          <a:prstGeom prst="rect">
            <a:avLst/>
          </a:prstGeom>
          <a:noFill/>
        </p:spPr>
        <p:txBody>
          <a:bodyPr wrap="square" lIns="91417" tIns="45708" rIns="91417" bIns="45708" rtlCol="0">
            <a:spAutoFit/>
          </a:bodyPr>
          <a:lstStyle/>
          <a:p>
            <a:r>
              <a:rPr lang="en-US" sz="975" b="1" dirty="0">
                <a:solidFill>
                  <a:schemeClr val="tx1"/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</a:rPr>
              <a:t>Creating Valuable IoT Connections |  </a:t>
            </a:r>
            <a:r>
              <a:rPr lang="en-US" sz="975" b="1" dirty="0" err="1">
                <a:solidFill>
                  <a:schemeClr val="tx1"/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</a:rPr>
              <a:t>lora-alliance.org</a:t>
            </a:r>
            <a:r>
              <a:rPr lang="en-US" sz="975" b="1" dirty="0">
                <a:solidFill>
                  <a:schemeClr val="tx1"/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0" name="Picture 19" descr="LoRa-Alliance_Logo_Black-RGB.png">
            <a:extLst>
              <a:ext uri="{FF2B5EF4-FFF2-40B4-BE49-F238E27FC236}">
                <a16:creationId xmlns:a16="http://schemas.microsoft.com/office/drawing/2014/main" id="{5FD6A2DF-8A29-064E-A30B-A220616576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9703" y="4738160"/>
            <a:ext cx="1091293" cy="36999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8754E21-787F-8645-8977-B2600E7DBD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48387" y="4795406"/>
            <a:ext cx="784058" cy="253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2092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0" y="150132"/>
            <a:ext cx="9144000" cy="5818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324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텍스트 개체 틀 2">
            <a:extLst>
              <a:ext uri="{FF2B5EF4-FFF2-40B4-BE49-F238E27FC236}">
                <a16:creationId xmlns:a16="http://schemas.microsoft.com/office/drawing/2014/main" id="{BEA53C6E-B822-48C1-AE43-123E9E431F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0" y="754037"/>
            <a:ext cx="9144000" cy="314535"/>
          </a:xfrm>
          <a:prstGeom prst="rect">
            <a:avLst/>
          </a:prstGeom>
        </p:spPr>
        <p:txBody>
          <a:bodyPr anchor="ctr"/>
          <a:lstStyle>
            <a:lvl1pPr marL="0" marR="0" indent="0" algn="ctr" defTabSz="617210" rtl="0" eaLnBrk="1" fontAlgn="auto" latinLnBrk="1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2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617210" rtl="0" eaLnBrk="1" fontAlgn="auto" latinLnBrk="1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dirty="0"/>
              <a:t>Subtitle in this lin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9817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1"/>
          <p:cNvSpPr txBox="1">
            <a:spLocks/>
          </p:cNvSpPr>
          <p:nvPr userDrawn="1"/>
        </p:nvSpPr>
        <p:spPr>
          <a:xfrm>
            <a:off x="387008" y="322349"/>
            <a:ext cx="8371183" cy="41186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9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otham Rounded Book" pitchFamily="50" charset="0"/>
              <a:ea typeface="+mj-ea"/>
              <a:cs typeface="+mj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7004" y="322349"/>
            <a:ext cx="8371090" cy="41300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500" b="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7004" y="772534"/>
            <a:ext cx="8371090" cy="23214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pPr lvl="0"/>
            <a:r>
              <a:rPr lang="cs-CZ" dirty="0"/>
              <a:t>C</a:t>
            </a:r>
            <a:r>
              <a:rPr lang="en-US" dirty="0"/>
              <a:t>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87003" y="1164162"/>
            <a:ext cx="8371090" cy="3374219"/>
          </a:xfrm>
          <a:prstGeom prst="rect">
            <a:avLst/>
          </a:prstGeom>
        </p:spPr>
        <p:txBody>
          <a:bodyPr lIns="0" tIns="0" rIns="0" bIns="0"/>
          <a:lstStyle>
            <a:lvl1pPr marL="256892" indent="-256892"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  <a:latin typeface="Gotham Rounded Book" pitchFamily="50" charset="0"/>
              </a:defRPr>
            </a:lvl1pPr>
            <a:lvl2pPr marL="556599" indent="-214076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Gotham Rounded Book" pitchFamily="50" charset="0"/>
              </a:defRPr>
            </a:lvl2pPr>
            <a:lvl3pPr marL="856304" indent="-171261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Gotham Rounded Book" pitchFamily="50" charset="0"/>
              </a:defRPr>
            </a:lvl3pPr>
            <a:lvl4pPr marL="1198828" indent="-171261"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Gotham Rounded Book" pitchFamily="50" charset="0"/>
              </a:defRPr>
            </a:lvl4pPr>
            <a:lvl5pPr marL="1541350" indent="-171261"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Gotham Rounded Book" pitchFamily="50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0253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A_slide_C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 txBox="1">
            <a:spLocks/>
          </p:cNvSpPr>
          <p:nvPr userDrawn="1"/>
        </p:nvSpPr>
        <p:spPr>
          <a:xfrm>
            <a:off x="387008" y="322349"/>
            <a:ext cx="8371183" cy="41186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9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all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otham Rounded Book" pitchFamily="50" charset="0"/>
              <a:ea typeface="+mj-ea"/>
              <a:cs typeface="+mj-cs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7004" y="322349"/>
            <a:ext cx="8371090" cy="41300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500" b="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7004" y="772534"/>
            <a:ext cx="8371090" cy="23214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pPr lvl="0"/>
            <a:r>
              <a:rPr lang="cs-CZ" dirty="0"/>
              <a:t>C</a:t>
            </a:r>
            <a:r>
              <a:rPr lang="en-US" dirty="0"/>
              <a:t>lick to edit master text styles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87006" y="1164162"/>
            <a:ext cx="4050527" cy="3374219"/>
          </a:xfrm>
          <a:prstGeom prst="rect">
            <a:avLst/>
          </a:prstGeom>
        </p:spPr>
        <p:txBody>
          <a:bodyPr lIns="0" tIns="0" rIns="0" bIns="0"/>
          <a:lstStyle>
            <a:lvl1pPr marL="256892" indent="-256892"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  <a:latin typeface="Gotham Rounded Book" pitchFamily="50" charset="0"/>
              </a:defRPr>
            </a:lvl1pPr>
            <a:lvl2pPr marL="556599" indent="-214076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Gotham Rounded Book" pitchFamily="50" charset="0"/>
              </a:defRPr>
            </a:lvl2pPr>
            <a:lvl3pPr marL="856304" indent="-171261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Gotham Rounded Book" pitchFamily="50" charset="0"/>
              </a:defRPr>
            </a:lvl3pPr>
            <a:lvl4pPr marL="1198828" indent="-171261"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Gotham Rounded Book" pitchFamily="50" charset="0"/>
              </a:defRPr>
            </a:lvl4pPr>
            <a:lvl5pPr marL="1541350" indent="-171261"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Gotham Rounded Book" pitchFamily="50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707570" y="1164162"/>
            <a:ext cx="4050527" cy="3374219"/>
          </a:xfrm>
          <a:prstGeom prst="rect">
            <a:avLst/>
          </a:prstGeom>
        </p:spPr>
        <p:txBody>
          <a:bodyPr lIns="0" tIns="0" rIns="0" bIns="0"/>
          <a:lstStyle>
            <a:lvl1pPr marL="256892" indent="-256892"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  <a:latin typeface="Gotham Rounded Book" pitchFamily="50" charset="0"/>
              </a:defRPr>
            </a:lvl1pPr>
            <a:lvl2pPr marL="556599" indent="-214076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Gotham Rounded Book" pitchFamily="50" charset="0"/>
              </a:defRPr>
            </a:lvl2pPr>
            <a:lvl3pPr marL="856304" indent="-171261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Gotham Rounded Book" pitchFamily="50" charset="0"/>
              </a:defRPr>
            </a:lvl3pPr>
            <a:lvl4pPr marL="1198828" indent="-171261"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Gotham Rounded Book" pitchFamily="50" charset="0"/>
              </a:defRPr>
            </a:lvl4pPr>
            <a:lvl5pPr marL="1541350" indent="-171261"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Gotham Rounded Book" pitchFamily="50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2729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 txBox="1">
            <a:spLocks/>
          </p:cNvSpPr>
          <p:nvPr userDrawn="1"/>
        </p:nvSpPr>
        <p:spPr>
          <a:xfrm>
            <a:off x="387008" y="322349"/>
            <a:ext cx="8371183" cy="41186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9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otham Rounded Book" pitchFamily="50" charset="0"/>
              <a:ea typeface="+mj-ea"/>
              <a:cs typeface="+mj-cs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7004" y="322349"/>
            <a:ext cx="8371090" cy="41300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500" b="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7004" y="772534"/>
            <a:ext cx="8371090" cy="23214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pPr lvl="0"/>
            <a:r>
              <a:rPr lang="cs-CZ" dirty="0"/>
              <a:t>C</a:t>
            </a:r>
            <a:r>
              <a:rPr lang="en-US" dirty="0"/>
              <a:t>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87003" y="1164162"/>
            <a:ext cx="8371090" cy="3374219"/>
          </a:xfrm>
          <a:prstGeom prst="rect">
            <a:avLst/>
          </a:prstGeom>
        </p:spPr>
        <p:txBody>
          <a:bodyPr lIns="0" tIns="0" rIns="0" bIns="0"/>
          <a:lstStyle>
            <a:lvl1pPr marL="256892" indent="-256892"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  <a:latin typeface="Gotham Rounded Book" pitchFamily="50" charset="0"/>
              </a:defRPr>
            </a:lvl1pPr>
            <a:lvl2pPr marL="556599" indent="-214076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Gotham Rounded Book" pitchFamily="50" charset="0"/>
              </a:defRPr>
            </a:lvl2pPr>
            <a:lvl3pPr marL="856304" indent="-171261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Gotham Rounded Book" pitchFamily="50" charset="0"/>
              </a:defRPr>
            </a:lvl3pPr>
            <a:lvl4pPr marL="1198828" indent="-171261"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Gotham Rounded Book" pitchFamily="50" charset="0"/>
              </a:defRPr>
            </a:lvl4pPr>
            <a:lvl5pPr marL="1541350" indent="-171261"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Gotham Rounded Book" pitchFamily="50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3554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 txBox="1">
            <a:spLocks/>
          </p:cNvSpPr>
          <p:nvPr userDrawn="1"/>
        </p:nvSpPr>
        <p:spPr>
          <a:xfrm>
            <a:off x="387008" y="322349"/>
            <a:ext cx="8371183" cy="41186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9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all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otham Rounded Book" pitchFamily="50" charset="0"/>
              <a:ea typeface="+mj-ea"/>
              <a:cs typeface="+mj-cs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7004" y="322349"/>
            <a:ext cx="8371090" cy="41300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500" b="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7004" y="772534"/>
            <a:ext cx="8371090" cy="23214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pPr lvl="0"/>
            <a:r>
              <a:rPr lang="cs-CZ" dirty="0"/>
              <a:t>C</a:t>
            </a:r>
            <a:r>
              <a:rPr lang="en-US" dirty="0"/>
              <a:t>lick to edit master text styles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87006" y="1164162"/>
            <a:ext cx="4050527" cy="3374219"/>
          </a:xfrm>
          <a:prstGeom prst="rect">
            <a:avLst/>
          </a:prstGeom>
        </p:spPr>
        <p:txBody>
          <a:bodyPr lIns="0" tIns="0" rIns="0" bIns="0"/>
          <a:lstStyle>
            <a:lvl1pPr marL="256892" indent="-256892"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  <a:latin typeface="Gotham Rounded Book" pitchFamily="50" charset="0"/>
              </a:defRPr>
            </a:lvl1pPr>
            <a:lvl2pPr marL="556599" indent="-214076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Gotham Rounded Book" pitchFamily="50" charset="0"/>
              </a:defRPr>
            </a:lvl2pPr>
            <a:lvl3pPr marL="856304" indent="-171261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Gotham Rounded Book" pitchFamily="50" charset="0"/>
              </a:defRPr>
            </a:lvl3pPr>
            <a:lvl4pPr marL="1198828" indent="-171261"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Gotham Rounded Book" pitchFamily="50" charset="0"/>
              </a:defRPr>
            </a:lvl4pPr>
            <a:lvl5pPr marL="1541350" indent="-171261"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Gotham Rounded Book" pitchFamily="50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4707570" y="1164162"/>
            <a:ext cx="4050527" cy="3374219"/>
          </a:xfrm>
          <a:prstGeom prst="rect">
            <a:avLst/>
          </a:prstGeom>
        </p:spPr>
        <p:txBody>
          <a:bodyPr lIns="0" tIns="0" rIns="0" bIns="0"/>
          <a:lstStyle>
            <a:lvl1pPr marL="256892" indent="-256892"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  <a:latin typeface="Gotham Rounded Book" pitchFamily="50" charset="0"/>
              </a:defRPr>
            </a:lvl1pPr>
            <a:lvl2pPr marL="556599" indent="-214076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Gotham Rounded Book" pitchFamily="50" charset="0"/>
              </a:defRPr>
            </a:lvl2pPr>
            <a:lvl3pPr marL="856304" indent="-171261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Gotham Rounded Book" pitchFamily="50" charset="0"/>
              </a:defRPr>
            </a:lvl3pPr>
            <a:lvl4pPr marL="1198828" indent="-171261"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Gotham Rounded Book" pitchFamily="50" charset="0"/>
              </a:defRPr>
            </a:lvl4pPr>
            <a:lvl5pPr marL="1541350" indent="-171261"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Gotham Rounded Book" pitchFamily="50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3362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A_slide_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 txBox="1">
            <a:spLocks/>
          </p:cNvSpPr>
          <p:nvPr userDrawn="1"/>
        </p:nvSpPr>
        <p:spPr>
          <a:xfrm>
            <a:off x="387008" y="322349"/>
            <a:ext cx="8371183" cy="41186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9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all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otham Rounded Book" pitchFamily="50" charset="0"/>
              <a:ea typeface="+mj-ea"/>
              <a:cs typeface="+mj-cs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7004" y="322349"/>
            <a:ext cx="8371090" cy="41300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500" b="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7004" y="772534"/>
            <a:ext cx="8371090" cy="23214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pPr lvl="0"/>
            <a:r>
              <a:rPr lang="cs-CZ" dirty="0"/>
              <a:t>C</a:t>
            </a:r>
            <a:r>
              <a:rPr lang="en-US" dirty="0"/>
              <a:t>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4707570" y="1164162"/>
            <a:ext cx="4050527" cy="3374219"/>
          </a:xfrm>
          <a:prstGeom prst="rect">
            <a:avLst/>
          </a:prstGeom>
        </p:spPr>
        <p:txBody>
          <a:bodyPr lIns="0" tIns="0" rIns="0" bIns="0"/>
          <a:lstStyle>
            <a:lvl1pPr marL="256892" indent="-256892"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  <a:latin typeface="Gotham Rounded Book" pitchFamily="50" charset="0"/>
              </a:defRPr>
            </a:lvl1pPr>
            <a:lvl2pPr marL="556599" indent="-214076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Gotham Rounded Book" pitchFamily="50" charset="0"/>
              </a:defRPr>
            </a:lvl2pPr>
            <a:lvl3pPr marL="856304" indent="-171261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Gotham Rounded Book" pitchFamily="50" charset="0"/>
              </a:defRPr>
            </a:lvl3pPr>
            <a:lvl4pPr marL="1198828" indent="-171261"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Gotham Rounded Book" pitchFamily="50" charset="0"/>
              </a:defRPr>
            </a:lvl4pPr>
            <a:lvl5pPr marL="1541350" indent="-171261"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Gotham Rounded Book" pitchFamily="50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4"/>
          </p:nvPr>
        </p:nvSpPr>
        <p:spPr>
          <a:xfrm>
            <a:off x="387008" y="1164162"/>
            <a:ext cx="4050527" cy="3374219"/>
          </a:xfrm>
          <a:prstGeom prst="rect">
            <a:avLst/>
          </a:prstGeom>
        </p:spPr>
        <p:txBody>
          <a:bodyPr lIns="0" tIns="0" rIns="0" bIns="0"/>
          <a:lstStyle>
            <a:lvl1pPr marL="256892" indent="-256892"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  <a:latin typeface="Gotham Rounded Book" pitchFamily="50" charset="0"/>
              </a:defRPr>
            </a:lvl1pPr>
            <a:lvl2pPr marL="556599" indent="-214076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Gotham Rounded Book" pitchFamily="50" charset="0"/>
              </a:defRPr>
            </a:lvl2pPr>
            <a:lvl3pPr marL="856304" indent="-171261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Gotham Rounded Book" pitchFamily="50" charset="0"/>
              </a:defRPr>
            </a:lvl3pPr>
            <a:lvl4pPr marL="1198828" indent="-171261"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Gotham Rounded Book" pitchFamily="50" charset="0"/>
              </a:defRPr>
            </a:lvl4pPr>
            <a:lvl5pPr marL="1541350" indent="-171261"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Gotham Rounded Book" pitchFamily="50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8402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A_slide_C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 txBox="1">
            <a:spLocks/>
          </p:cNvSpPr>
          <p:nvPr userDrawn="1"/>
        </p:nvSpPr>
        <p:spPr>
          <a:xfrm>
            <a:off x="387008" y="322349"/>
            <a:ext cx="8371183" cy="41186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9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all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Gotham Rounded Book" pitchFamily="50" charset="0"/>
              <a:ea typeface="+mj-ea"/>
              <a:cs typeface="+mj-cs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7004" y="322349"/>
            <a:ext cx="8371090" cy="413004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Font typeface="Arial" panose="020B0604020202020204" pitchFamily="34" charset="0"/>
              <a:buNone/>
              <a:defRPr sz="1500" b="0" cap="all" baseline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7004" y="772534"/>
            <a:ext cx="8371090" cy="232146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buFont typeface="Arial" panose="020B0604020202020204" pitchFamily="34" charset="0"/>
              <a:buNone/>
              <a:defRPr sz="1300" b="0">
                <a:solidFill>
                  <a:schemeClr val="tx2"/>
                </a:solidFill>
                <a:latin typeface="Gotham Rounded Book" pitchFamily="50" charset="0"/>
              </a:defRPr>
            </a:lvl1pPr>
          </a:lstStyle>
          <a:p>
            <a:pPr lvl="0"/>
            <a:r>
              <a:rPr lang="cs-CZ" dirty="0"/>
              <a:t>C</a:t>
            </a:r>
            <a:r>
              <a:rPr lang="en-US" dirty="0"/>
              <a:t>lick to edit master text styles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87002" y="1164162"/>
            <a:ext cx="2025264" cy="3374219"/>
          </a:xfrm>
          <a:prstGeom prst="rect">
            <a:avLst/>
          </a:prstGeom>
        </p:spPr>
        <p:txBody>
          <a:bodyPr lIns="0" tIns="0" rIns="0" bIns="0"/>
          <a:lstStyle>
            <a:lvl1pPr marL="256892" indent="-256892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Gotham Rounded Book" pitchFamily="50" charset="0"/>
              </a:defRPr>
            </a:lvl1pPr>
            <a:lvl2pPr marL="556599" indent="-214076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Gotham Rounded Book" pitchFamily="50" charset="0"/>
              </a:defRPr>
            </a:lvl2pPr>
            <a:lvl3pPr marL="856304" indent="-171261"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Gotham Rounded Book" pitchFamily="50" charset="0"/>
              </a:defRPr>
            </a:lvl3pPr>
            <a:lvl4pPr marL="1198828" indent="-171261">
              <a:buFont typeface="Arial" panose="020B0604020202020204" pitchFamily="34" charset="0"/>
              <a:buChar char="•"/>
              <a:defRPr sz="800">
                <a:solidFill>
                  <a:schemeClr val="bg1"/>
                </a:solidFill>
                <a:latin typeface="Gotham Rounded Book" pitchFamily="50" charset="0"/>
              </a:defRPr>
            </a:lvl4pPr>
            <a:lvl5pPr marL="1541350" indent="-171261">
              <a:buFont typeface="Arial" panose="020B0604020202020204" pitchFamily="34" charset="0"/>
              <a:buChar char="•"/>
              <a:defRPr sz="700">
                <a:solidFill>
                  <a:schemeClr val="bg1"/>
                </a:solidFill>
                <a:latin typeface="Gotham Rounded Book" pitchFamily="50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732830" y="1164162"/>
            <a:ext cx="2025264" cy="3374219"/>
          </a:xfrm>
          <a:prstGeom prst="rect">
            <a:avLst/>
          </a:prstGeom>
        </p:spPr>
        <p:txBody>
          <a:bodyPr lIns="0" tIns="0" rIns="0" bIns="0"/>
          <a:lstStyle>
            <a:lvl1pPr marL="256892" indent="-256892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Gotham Rounded Book" pitchFamily="50" charset="0"/>
              </a:defRPr>
            </a:lvl1pPr>
            <a:lvl2pPr marL="556599" indent="-214076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Gotham Rounded Book" pitchFamily="50" charset="0"/>
              </a:defRPr>
            </a:lvl2pPr>
            <a:lvl3pPr marL="856304" indent="-171261"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Gotham Rounded Book" pitchFamily="50" charset="0"/>
              </a:defRPr>
            </a:lvl3pPr>
            <a:lvl4pPr marL="1198828" indent="-171261">
              <a:buFont typeface="Arial" panose="020B0604020202020204" pitchFamily="34" charset="0"/>
              <a:buChar char="•"/>
              <a:defRPr sz="800">
                <a:solidFill>
                  <a:schemeClr val="bg1"/>
                </a:solidFill>
                <a:latin typeface="Gotham Rounded Book" pitchFamily="50" charset="0"/>
              </a:defRPr>
            </a:lvl4pPr>
            <a:lvl5pPr marL="1541350" indent="-171261">
              <a:buFont typeface="Arial" panose="020B0604020202020204" pitchFamily="34" charset="0"/>
              <a:buChar char="•"/>
              <a:defRPr sz="700">
                <a:solidFill>
                  <a:schemeClr val="bg1"/>
                </a:solidFill>
                <a:latin typeface="Gotham Rounded Book" pitchFamily="50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502278" y="1164162"/>
            <a:ext cx="2025264" cy="3374219"/>
          </a:xfrm>
          <a:prstGeom prst="rect">
            <a:avLst/>
          </a:prstGeom>
        </p:spPr>
        <p:txBody>
          <a:bodyPr lIns="0" tIns="0" rIns="0" bIns="0"/>
          <a:lstStyle>
            <a:lvl1pPr marL="256892" indent="-256892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Gotham Rounded Book" pitchFamily="50" charset="0"/>
              </a:defRPr>
            </a:lvl1pPr>
            <a:lvl2pPr marL="556599" indent="-214076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Gotham Rounded Book" pitchFamily="50" charset="0"/>
              </a:defRPr>
            </a:lvl2pPr>
            <a:lvl3pPr marL="856304" indent="-171261"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Gotham Rounded Book" pitchFamily="50" charset="0"/>
              </a:defRPr>
            </a:lvl3pPr>
            <a:lvl4pPr marL="1198828" indent="-171261">
              <a:buFont typeface="Arial" panose="020B0604020202020204" pitchFamily="34" charset="0"/>
              <a:buChar char="•"/>
              <a:defRPr sz="800">
                <a:solidFill>
                  <a:schemeClr val="bg1"/>
                </a:solidFill>
                <a:latin typeface="Gotham Rounded Book" pitchFamily="50" charset="0"/>
              </a:defRPr>
            </a:lvl4pPr>
            <a:lvl5pPr marL="1541350" indent="-171261">
              <a:buFont typeface="Arial" panose="020B0604020202020204" pitchFamily="34" charset="0"/>
              <a:buChar char="•"/>
              <a:defRPr sz="700">
                <a:solidFill>
                  <a:schemeClr val="bg1"/>
                </a:solidFill>
                <a:latin typeface="Gotham Rounded Book" pitchFamily="50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4617554" y="1164162"/>
            <a:ext cx="2025264" cy="3374219"/>
          </a:xfrm>
          <a:prstGeom prst="rect">
            <a:avLst/>
          </a:prstGeom>
        </p:spPr>
        <p:txBody>
          <a:bodyPr lIns="0" tIns="0" rIns="0" bIns="0"/>
          <a:lstStyle>
            <a:lvl1pPr marL="256892" indent="-256892"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  <a:latin typeface="Gotham Rounded Book" pitchFamily="50" charset="0"/>
              </a:defRPr>
            </a:lvl1pPr>
            <a:lvl2pPr marL="556599" indent="-214076">
              <a:buFont typeface="Arial" panose="020B0604020202020204" pitchFamily="34" charset="0"/>
              <a:buChar char="•"/>
              <a:defRPr sz="1100">
                <a:solidFill>
                  <a:schemeClr val="bg1"/>
                </a:solidFill>
                <a:latin typeface="Gotham Rounded Book" pitchFamily="50" charset="0"/>
              </a:defRPr>
            </a:lvl2pPr>
            <a:lvl3pPr marL="856304" indent="-171261">
              <a:buFont typeface="Arial" panose="020B0604020202020204" pitchFamily="34" charset="0"/>
              <a:buChar char="•"/>
              <a:defRPr sz="1000">
                <a:solidFill>
                  <a:schemeClr val="bg1"/>
                </a:solidFill>
                <a:latin typeface="Gotham Rounded Book" pitchFamily="50" charset="0"/>
              </a:defRPr>
            </a:lvl3pPr>
            <a:lvl4pPr marL="1198828" indent="-171261">
              <a:buFont typeface="Arial" panose="020B0604020202020204" pitchFamily="34" charset="0"/>
              <a:buChar char="•"/>
              <a:defRPr sz="800">
                <a:solidFill>
                  <a:schemeClr val="bg1"/>
                </a:solidFill>
                <a:latin typeface="Gotham Rounded Book" pitchFamily="50" charset="0"/>
              </a:defRPr>
            </a:lvl4pPr>
            <a:lvl5pPr marL="1541350" indent="-171261">
              <a:buFont typeface="Arial" panose="020B0604020202020204" pitchFamily="34" charset="0"/>
              <a:buChar char="•"/>
              <a:defRPr sz="700">
                <a:solidFill>
                  <a:schemeClr val="bg1"/>
                </a:solidFill>
                <a:latin typeface="Gotham Rounded Book" pitchFamily="50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2293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microsoft.com/office/2007/relationships/media" Target="../media/media1.mp4"/><Relationship Id="rId7" Type="http://schemas.openxmlformats.org/officeDocument/2006/relationships/image" Target="../media/image4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video" Target="../media/media1.mp4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4.png"/><Relationship Id="rId4" Type="http://schemas.openxmlformats.org/officeDocument/2006/relationships/image" Target="../media/image1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30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231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779" r:id="rId2"/>
  </p:sldLayoutIdLst>
  <p:hf sldNum="0" hdr="0" ftr="0" dt="0"/>
  <p:txStyles>
    <p:titleStyle>
      <a:lvl1pPr algn="ctr" defTabSz="342569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6926" indent="-256926" algn="l" defTabSz="34256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6673" indent="-214105" algn="l" defTabSz="342569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6420" indent="-171284" algn="l" defTabSz="34256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98988" indent="-171284" algn="l" defTabSz="342569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1557" indent="-171284" algn="l" defTabSz="342569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4124" indent="-171284" algn="l" defTabSz="342569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6692" indent="-171284" algn="l" defTabSz="342569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69261" indent="-171284" algn="l" defTabSz="342569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1828" indent="-171284" algn="l" defTabSz="342569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569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5136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705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273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2841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5407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7976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40543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C uvodN">
            <a:hlinkClick r:id="" action="ppaction://media"/>
            <a:extLst>
              <a:ext uri="{FF2B5EF4-FFF2-40B4-BE49-F238E27FC236}">
                <a16:creationId xmlns:a16="http://schemas.microsoft.com/office/drawing/2014/main" id="{B0313810-D4A6-44C2-BACA-9E6DDB888978}"/>
              </a:ext>
            </a:extLst>
          </p:cNvPr>
          <p:cNvPicPr>
            <a:picLocks noChangeAspect="1"/>
          </p:cNvPicPr>
          <p:nvPr userDrawn="1"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" y="15750"/>
            <a:ext cx="7158052" cy="5112000"/>
          </a:xfrm>
          <a:prstGeom prst="rect">
            <a:avLst/>
          </a:prstGeom>
        </p:spPr>
      </p:pic>
      <p:pic>
        <p:nvPicPr>
          <p:cNvPr id="3" name="Obrázek 7">
            <a:extLst>
              <a:ext uri="{FF2B5EF4-FFF2-40B4-BE49-F238E27FC236}">
                <a16:creationId xmlns:a16="http://schemas.microsoft.com/office/drawing/2014/main" id="{7E17A020-833E-4E86-8D34-B8C26BBEB8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40352" y="452572"/>
            <a:ext cx="1022400" cy="342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689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806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  <p:hf sldNum="0" hdr="0" ftr="0" dt="0"/>
  <p:txStyles>
    <p:titleStyle>
      <a:lvl1pPr algn="l" defTabSz="342475" rtl="0" eaLnBrk="1" latinLnBrk="0" hangingPunct="1">
        <a:spcBef>
          <a:spcPct val="0"/>
        </a:spcBef>
        <a:buNone/>
        <a:defRPr sz="2200" kern="1200">
          <a:solidFill>
            <a:schemeClr val="bg1"/>
          </a:solidFill>
          <a:latin typeface="Arial"/>
          <a:ea typeface="+mj-ea"/>
          <a:cs typeface="+mj-cs"/>
        </a:defRPr>
      </a:lvl1pPr>
    </p:titleStyle>
    <p:bodyStyle>
      <a:lvl1pPr marL="256858" indent="-256858" algn="l" defTabSz="342475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7"/>
        </a:buBlip>
        <a:defRPr sz="1500" kern="1200" baseline="0">
          <a:solidFill>
            <a:srgbClr val="646464"/>
          </a:solidFill>
          <a:latin typeface="Arial"/>
          <a:ea typeface="+mn-ea"/>
          <a:cs typeface="+mn-cs"/>
        </a:defRPr>
      </a:lvl1pPr>
      <a:lvl2pPr marL="556523" indent="-214047" algn="l" defTabSz="342475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7"/>
        </a:buBlip>
        <a:defRPr sz="1200" kern="1200" baseline="0">
          <a:solidFill>
            <a:srgbClr val="646464"/>
          </a:solidFill>
          <a:latin typeface="Arial"/>
          <a:ea typeface="+mn-ea"/>
          <a:cs typeface="+mn-cs"/>
        </a:defRPr>
      </a:lvl2pPr>
      <a:lvl3pPr marL="856191" indent="-171239" algn="l" defTabSz="342475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7"/>
        </a:buBlip>
        <a:defRPr sz="1000" kern="1200" baseline="0">
          <a:solidFill>
            <a:srgbClr val="646464"/>
          </a:solidFill>
          <a:latin typeface="Arial"/>
          <a:ea typeface="+mn-ea"/>
          <a:cs typeface="+mn-cs"/>
        </a:defRPr>
      </a:lvl3pPr>
      <a:lvl4pPr marL="1198667" indent="-171239" algn="l" defTabSz="342475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7"/>
        </a:buBlip>
        <a:defRPr sz="900" kern="1200" baseline="0">
          <a:solidFill>
            <a:srgbClr val="646464"/>
          </a:solidFill>
          <a:latin typeface="Arial"/>
          <a:ea typeface="+mn-ea"/>
          <a:cs typeface="+mn-cs"/>
        </a:defRPr>
      </a:lvl4pPr>
      <a:lvl5pPr marL="1541143" indent="-171239" algn="l" defTabSz="342475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7"/>
        </a:buBlip>
        <a:defRPr sz="700" kern="1200" baseline="0">
          <a:solidFill>
            <a:srgbClr val="646464"/>
          </a:solidFill>
          <a:latin typeface="Arial"/>
          <a:ea typeface="+mn-ea"/>
          <a:cs typeface="+mn-cs"/>
        </a:defRPr>
      </a:lvl5pPr>
      <a:lvl6pPr marL="1883619" indent="-171239" algn="l" defTabSz="34247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6095" indent="-171239" algn="l" defTabSz="34247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68572" indent="-171239" algn="l" defTabSz="34247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1047" indent="-171239" algn="l" defTabSz="34247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475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953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428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9904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2382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4858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7333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9809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Holder 7"/>
          <p:cNvSpPr txBox="1">
            <a:spLocks/>
          </p:cNvSpPr>
          <p:nvPr/>
        </p:nvSpPr>
        <p:spPr>
          <a:xfrm>
            <a:off x="8605358" y="4797077"/>
            <a:ext cx="271152" cy="17675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009"/>
            <a:fld id="{BDF16F34-6540-4C08-9D8B-DEC95D224B7C}" type="slidenum">
              <a:rPr lang="cs-CZ" sz="900" noProof="0" smtClean="0">
                <a:solidFill>
                  <a:schemeClr val="bg1"/>
                </a:solidFill>
                <a:latin typeface="Gotham Rounded Book" pitchFamily="50" charset="0"/>
                <a:cs typeface="Arial"/>
              </a:rPr>
              <a:pPr marL="39009"/>
              <a:t>‹#›</a:t>
            </a:fld>
            <a:endParaRPr lang="cs-CZ" sz="900" noProof="0" dirty="0">
              <a:solidFill>
                <a:schemeClr val="bg1"/>
              </a:solidFill>
              <a:latin typeface="Gotham Rounded Book" pitchFamily="50" charset="0"/>
              <a:cs typeface="Arial"/>
            </a:endParaRPr>
          </a:p>
        </p:txBody>
      </p:sp>
      <p:grpSp>
        <p:nvGrpSpPr>
          <p:cNvPr id="9" name="Skupina 36"/>
          <p:cNvGrpSpPr/>
          <p:nvPr/>
        </p:nvGrpSpPr>
        <p:grpSpPr>
          <a:xfrm>
            <a:off x="323532" y="4803998"/>
            <a:ext cx="621587" cy="183314"/>
            <a:chOff x="515938" y="6444456"/>
            <a:chExt cx="828675" cy="244475"/>
          </a:xfrm>
        </p:grpSpPr>
        <p:grpSp>
          <p:nvGrpSpPr>
            <p:cNvPr id="10" name="Skupina 29"/>
            <p:cNvGrpSpPr/>
            <p:nvPr userDrawn="1"/>
          </p:nvGrpSpPr>
          <p:grpSpPr>
            <a:xfrm>
              <a:off x="1092201" y="6444456"/>
              <a:ext cx="252412" cy="244475"/>
              <a:chOff x="1092201" y="6454775"/>
              <a:chExt cx="252412" cy="244475"/>
            </a:xfrm>
          </p:grpSpPr>
          <p:sp>
            <p:nvSpPr>
              <p:cNvPr id="16" name="Freeform 5"/>
              <p:cNvSpPr>
                <a:spLocks/>
              </p:cNvSpPr>
              <p:nvPr userDrawn="1"/>
            </p:nvSpPr>
            <p:spPr bwMode="auto">
              <a:xfrm>
                <a:off x="1092201" y="6454775"/>
                <a:ext cx="133350" cy="244475"/>
              </a:xfrm>
              <a:custGeom>
                <a:avLst/>
                <a:gdLst>
                  <a:gd name="T0" fmla="*/ 22 w 636"/>
                  <a:gd name="T1" fmla="*/ 150 h 1159"/>
                  <a:gd name="T2" fmla="*/ 72 w 636"/>
                  <a:gd name="T3" fmla="*/ 22 h 1159"/>
                  <a:gd name="T4" fmla="*/ 199 w 636"/>
                  <a:gd name="T5" fmla="*/ 72 h 1159"/>
                  <a:gd name="T6" fmla="*/ 614 w 636"/>
                  <a:gd name="T7" fmla="*/ 1009 h 1159"/>
                  <a:gd name="T8" fmla="*/ 565 w 636"/>
                  <a:gd name="T9" fmla="*/ 1137 h 1159"/>
                  <a:gd name="T10" fmla="*/ 437 w 636"/>
                  <a:gd name="T11" fmla="*/ 1087 h 1159"/>
                  <a:gd name="T12" fmla="*/ 22 w 636"/>
                  <a:gd name="T13" fmla="*/ 15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6" h="1159">
                    <a:moveTo>
                      <a:pt x="22" y="150"/>
                    </a:moveTo>
                    <a:cubicBezTo>
                      <a:pt x="0" y="100"/>
                      <a:pt x="22" y="44"/>
                      <a:pt x="72" y="22"/>
                    </a:cubicBezTo>
                    <a:cubicBezTo>
                      <a:pt x="121" y="0"/>
                      <a:pt x="177" y="22"/>
                      <a:pt x="199" y="72"/>
                    </a:cubicBezTo>
                    <a:cubicBezTo>
                      <a:pt x="614" y="1009"/>
                      <a:pt x="614" y="1009"/>
                      <a:pt x="614" y="1009"/>
                    </a:cubicBezTo>
                    <a:cubicBezTo>
                      <a:pt x="636" y="1059"/>
                      <a:pt x="614" y="1115"/>
                      <a:pt x="565" y="1137"/>
                    </a:cubicBezTo>
                    <a:cubicBezTo>
                      <a:pt x="516" y="1159"/>
                      <a:pt x="459" y="1137"/>
                      <a:pt x="437" y="1087"/>
                    </a:cubicBezTo>
                    <a:lnTo>
                      <a:pt x="22" y="150"/>
                    </a:lnTo>
                    <a:close/>
                  </a:path>
                </a:pathLst>
              </a:custGeom>
              <a:solidFill>
                <a:srgbClr val="F99D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sz="1800" dirty="0">
                  <a:solidFill>
                    <a:schemeClr val="bg1"/>
                  </a:solidFill>
                  <a:latin typeface="Gotham Rounded Book" pitchFamily="50" charset="0"/>
                </a:endParaRPr>
              </a:p>
            </p:txBody>
          </p:sp>
          <p:sp>
            <p:nvSpPr>
              <p:cNvPr id="17" name="Freeform 6"/>
              <p:cNvSpPr>
                <a:spLocks/>
              </p:cNvSpPr>
              <p:nvPr userDrawn="1"/>
            </p:nvSpPr>
            <p:spPr bwMode="auto">
              <a:xfrm>
                <a:off x="1181101" y="6454775"/>
                <a:ext cx="106363" cy="182563"/>
              </a:xfrm>
              <a:custGeom>
                <a:avLst/>
                <a:gdLst>
                  <a:gd name="T0" fmla="*/ 22 w 507"/>
                  <a:gd name="T1" fmla="*/ 150 h 868"/>
                  <a:gd name="T2" fmla="*/ 71 w 507"/>
                  <a:gd name="T3" fmla="*/ 22 h 868"/>
                  <a:gd name="T4" fmla="*/ 199 w 507"/>
                  <a:gd name="T5" fmla="*/ 72 h 868"/>
                  <a:gd name="T6" fmla="*/ 486 w 507"/>
                  <a:gd name="T7" fmla="*/ 719 h 868"/>
                  <a:gd name="T8" fmla="*/ 436 w 507"/>
                  <a:gd name="T9" fmla="*/ 847 h 868"/>
                  <a:gd name="T10" fmla="*/ 309 w 507"/>
                  <a:gd name="T11" fmla="*/ 797 h 868"/>
                  <a:gd name="T12" fmla="*/ 22 w 507"/>
                  <a:gd name="T13" fmla="*/ 150 h 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7" h="868">
                    <a:moveTo>
                      <a:pt x="22" y="150"/>
                    </a:moveTo>
                    <a:cubicBezTo>
                      <a:pt x="0" y="100"/>
                      <a:pt x="22" y="44"/>
                      <a:pt x="71" y="22"/>
                    </a:cubicBezTo>
                    <a:cubicBezTo>
                      <a:pt x="121" y="0"/>
                      <a:pt x="177" y="22"/>
                      <a:pt x="199" y="72"/>
                    </a:cubicBezTo>
                    <a:cubicBezTo>
                      <a:pt x="486" y="719"/>
                      <a:pt x="486" y="719"/>
                      <a:pt x="486" y="719"/>
                    </a:cubicBezTo>
                    <a:cubicBezTo>
                      <a:pt x="507" y="768"/>
                      <a:pt x="486" y="825"/>
                      <a:pt x="436" y="847"/>
                    </a:cubicBezTo>
                    <a:cubicBezTo>
                      <a:pt x="387" y="868"/>
                      <a:pt x="331" y="847"/>
                      <a:pt x="309" y="797"/>
                    </a:cubicBezTo>
                    <a:lnTo>
                      <a:pt x="22" y="150"/>
                    </a:lnTo>
                    <a:close/>
                  </a:path>
                </a:pathLst>
              </a:custGeom>
              <a:solidFill>
                <a:srgbClr val="F99D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sz="1800" dirty="0">
                  <a:solidFill>
                    <a:schemeClr val="bg1"/>
                  </a:solidFill>
                  <a:latin typeface="Gotham Rounded Book" pitchFamily="50" charset="0"/>
                </a:endParaRPr>
              </a:p>
            </p:txBody>
          </p:sp>
          <p:sp>
            <p:nvSpPr>
              <p:cNvPr id="18" name="Freeform 7"/>
              <p:cNvSpPr>
                <a:spLocks/>
              </p:cNvSpPr>
              <p:nvPr userDrawn="1"/>
            </p:nvSpPr>
            <p:spPr bwMode="auto">
              <a:xfrm>
                <a:off x="1268413" y="6454775"/>
                <a:ext cx="76200" cy="112713"/>
              </a:xfrm>
              <a:custGeom>
                <a:avLst/>
                <a:gdLst>
                  <a:gd name="T0" fmla="*/ 22 w 359"/>
                  <a:gd name="T1" fmla="*/ 149 h 534"/>
                  <a:gd name="T2" fmla="*/ 71 w 359"/>
                  <a:gd name="T3" fmla="*/ 22 h 534"/>
                  <a:gd name="T4" fmla="*/ 199 w 359"/>
                  <a:gd name="T5" fmla="*/ 71 h 534"/>
                  <a:gd name="T6" fmla="*/ 337 w 359"/>
                  <a:gd name="T7" fmla="*/ 384 h 534"/>
                  <a:gd name="T8" fmla="*/ 288 w 359"/>
                  <a:gd name="T9" fmla="*/ 512 h 534"/>
                  <a:gd name="T10" fmla="*/ 160 w 359"/>
                  <a:gd name="T11" fmla="*/ 462 h 534"/>
                  <a:gd name="T12" fmla="*/ 22 w 359"/>
                  <a:gd name="T13" fmla="*/ 149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9" h="534">
                    <a:moveTo>
                      <a:pt x="22" y="149"/>
                    </a:moveTo>
                    <a:cubicBezTo>
                      <a:pt x="0" y="100"/>
                      <a:pt x="22" y="43"/>
                      <a:pt x="71" y="22"/>
                    </a:cubicBezTo>
                    <a:cubicBezTo>
                      <a:pt x="120" y="0"/>
                      <a:pt x="177" y="21"/>
                      <a:pt x="199" y="71"/>
                    </a:cubicBezTo>
                    <a:cubicBezTo>
                      <a:pt x="337" y="384"/>
                      <a:pt x="337" y="384"/>
                      <a:pt x="337" y="384"/>
                    </a:cubicBezTo>
                    <a:cubicBezTo>
                      <a:pt x="359" y="434"/>
                      <a:pt x="337" y="490"/>
                      <a:pt x="288" y="512"/>
                    </a:cubicBezTo>
                    <a:cubicBezTo>
                      <a:pt x="238" y="534"/>
                      <a:pt x="182" y="512"/>
                      <a:pt x="160" y="462"/>
                    </a:cubicBezTo>
                    <a:lnTo>
                      <a:pt x="22" y="149"/>
                    </a:lnTo>
                    <a:close/>
                  </a:path>
                </a:pathLst>
              </a:custGeom>
              <a:solidFill>
                <a:srgbClr val="F99D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sz="1800" dirty="0">
                  <a:solidFill>
                    <a:schemeClr val="bg1"/>
                  </a:solidFill>
                  <a:latin typeface="Gotham Rounded Book" pitchFamily="50" charset="0"/>
                </a:endParaRPr>
              </a:p>
            </p:txBody>
          </p:sp>
        </p:grp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515938" y="6447631"/>
              <a:ext cx="168275" cy="192088"/>
            </a:xfrm>
            <a:custGeom>
              <a:avLst/>
              <a:gdLst>
                <a:gd name="T0" fmla="*/ 706 w 797"/>
                <a:gd name="T1" fmla="*/ 641 h 910"/>
                <a:gd name="T2" fmla="*/ 648 w 797"/>
                <a:gd name="T3" fmla="*/ 663 h 910"/>
                <a:gd name="T4" fmla="*/ 457 w 797"/>
                <a:gd name="T5" fmla="*/ 732 h 910"/>
                <a:gd name="T6" fmla="*/ 202 w 797"/>
                <a:gd name="T7" fmla="*/ 455 h 910"/>
                <a:gd name="T8" fmla="*/ 202 w 797"/>
                <a:gd name="T9" fmla="*/ 453 h 910"/>
                <a:gd name="T10" fmla="*/ 457 w 797"/>
                <a:gd name="T11" fmla="*/ 178 h 910"/>
                <a:gd name="T12" fmla="*/ 637 w 797"/>
                <a:gd name="T13" fmla="*/ 241 h 910"/>
                <a:gd name="T14" fmla="*/ 695 w 797"/>
                <a:gd name="T15" fmla="*/ 260 h 910"/>
                <a:gd name="T16" fmla="*/ 791 w 797"/>
                <a:gd name="T17" fmla="*/ 166 h 910"/>
                <a:gd name="T18" fmla="*/ 753 w 797"/>
                <a:gd name="T19" fmla="*/ 89 h 910"/>
                <a:gd name="T20" fmla="*/ 459 w 797"/>
                <a:gd name="T21" fmla="*/ 0 h 910"/>
                <a:gd name="T22" fmla="*/ 0 w 797"/>
                <a:gd name="T23" fmla="*/ 455 h 910"/>
                <a:gd name="T24" fmla="*/ 0 w 797"/>
                <a:gd name="T25" fmla="*/ 458 h 910"/>
                <a:gd name="T26" fmla="*/ 451 w 797"/>
                <a:gd name="T27" fmla="*/ 910 h 910"/>
                <a:gd name="T28" fmla="*/ 764 w 797"/>
                <a:gd name="T29" fmla="*/ 800 h 910"/>
                <a:gd name="T30" fmla="*/ 797 w 797"/>
                <a:gd name="T31" fmla="*/ 731 h 910"/>
                <a:gd name="T32" fmla="*/ 706 w 797"/>
                <a:gd name="T33" fmla="*/ 641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97" h="910">
                  <a:moveTo>
                    <a:pt x="706" y="641"/>
                  </a:moveTo>
                  <a:cubicBezTo>
                    <a:pt x="684" y="641"/>
                    <a:pt x="664" y="650"/>
                    <a:pt x="648" y="663"/>
                  </a:cubicBezTo>
                  <a:cubicBezTo>
                    <a:pt x="593" y="707"/>
                    <a:pt x="539" y="732"/>
                    <a:pt x="457" y="732"/>
                  </a:cubicBezTo>
                  <a:cubicBezTo>
                    <a:pt x="306" y="732"/>
                    <a:pt x="202" y="606"/>
                    <a:pt x="202" y="455"/>
                  </a:cubicBezTo>
                  <a:cubicBezTo>
                    <a:pt x="202" y="453"/>
                    <a:pt x="202" y="453"/>
                    <a:pt x="202" y="453"/>
                  </a:cubicBezTo>
                  <a:cubicBezTo>
                    <a:pt x="202" y="302"/>
                    <a:pt x="309" y="178"/>
                    <a:pt x="457" y="178"/>
                  </a:cubicBezTo>
                  <a:cubicBezTo>
                    <a:pt x="527" y="178"/>
                    <a:pt x="583" y="201"/>
                    <a:pt x="637" y="241"/>
                  </a:cubicBezTo>
                  <a:cubicBezTo>
                    <a:pt x="651" y="250"/>
                    <a:pt x="669" y="260"/>
                    <a:pt x="695" y="260"/>
                  </a:cubicBezTo>
                  <a:cubicBezTo>
                    <a:pt x="748" y="260"/>
                    <a:pt x="791" y="219"/>
                    <a:pt x="791" y="166"/>
                  </a:cubicBezTo>
                  <a:cubicBezTo>
                    <a:pt x="791" y="132"/>
                    <a:pt x="773" y="104"/>
                    <a:pt x="753" y="89"/>
                  </a:cubicBezTo>
                  <a:cubicBezTo>
                    <a:pt x="680" y="35"/>
                    <a:pt x="591" y="0"/>
                    <a:pt x="459" y="0"/>
                  </a:cubicBezTo>
                  <a:cubicBezTo>
                    <a:pt x="188" y="0"/>
                    <a:pt x="0" y="205"/>
                    <a:pt x="0" y="455"/>
                  </a:cubicBezTo>
                  <a:cubicBezTo>
                    <a:pt x="0" y="458"/>
                    <a:pt x="0" y="458"/>
                    <a:pt x="0" y="458"/>
                  </a:cubicBezTo>
                  <a:cubicBezTo>
                    <a:pt x="0" y="710"/>
                    <a:pt x="192" y="910"/>
                    <a:pt x="451" y="910"/>
                  </a:cubicBezTo>
                  <a:cubicBezTo>
                    <a:pt x="592" y="910"/>
                    <a:pt x="685" y="869"/>
                    <a:pt x="764" y="800"/>
                  </a:cubicBezTo>
                  <a:cubicBezTo>
                    <a:pt x="782" y="785"/>
                    <a:pt x="797" y="761"/>
                    <a:pt x="797" y="731"/>
                  </a:cubicBezTo>
                  <a:cubicBezTo>
                    <a:pt x="797" y="682"/>
                    <a:pt x="755" y="641"/>
                    <a:pt x="706" y="6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 dirty="0">
                <a:solidFill>
                  <a:schemeClr val="bg1"/>
                </a:solidFill>
                <a:latin typeface="Gotham Rounded Book" pitchFamily="50" charset="0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719138" y="6450806"/>
              <a:ext cx="153988" cy="187325"/>
            </a:xfrm>
            <a:custGeom>
              <a:avLst/>
              <a:gdLst>
                <a:gd name="T0" fmla="*/ 539 w 735"/>
                <a:gd name="T1" fmla="*/ 303 h 888"/>
                <a:gd name="T2" fmla="*/ 390 w 735"/>
                <a:gd name="T3" fmla="*/ 428 h 888"/>
                <a:gd name="T4" fmla="*/ 194 w 735"/>
                <a:gd name="T5" fmla="*/ 428 h 888"/>
                <a:gd name="T6" fmla="*/ 194 w 735"/>
                <a:gd name="T7" fmla="*/ 175 h 888"/>
                <a:gd name="T8" fmla="*/ 386 w 735"/>
                <a:gd name="T9" fmla="*/ 175 h 888"/>
                <a:gd name="T10" fmla="*/ 539 w 735"/>
                <a:gd name="T11" fmla="*/ 300 h 888"/>
                <a:gd name="T12" fmla="*/ 539 w 735"/>
                <a:gd name="T13" fmla="*/ 303 h 888"/>
                <a:gd name="T14" fmla="*/ 403 w 735"/>
                <a:gd name="T15" fmla="*/ 0 h 888"/>
                <a:gd name="T16" fmla="*/ 97 w 735"/>
                <a:gd name="T17" fmla="*/ 0 h 888"/>
                <a:gd name="T18" fmla="*/ 0 w 735"/>
                <a:gd name="T19" fmla="*/ 97 h 888"/>
                <a:gd name="T20" fmla="*/ 0 w 735"/>
                <a:gd name="T21" fmla="*/ 791 h 888"/>
                <a:gd name="T22" fmla="*/ 97 w 735"/>
                <a:gd name="T23" fmla="*/ 888 h 888"/>
                <a:gd name="T24" fmla="*/ 194 w 735"/>
                <a:gd name="T25" fmla="*/ 791 h 888"/>
                <a:gd name="T26" fmla="*/ 194 w 735"/>
                <a:gd name="T27" fmla="*/ 599 h 888"/>
                <a:gd name="T28" fmla="*/ 349 w 735"/>
                <a:gd name="T29" fmla="*/ 599 h 888"/>
                <a:gd name="T30" fmla="*/ 537 w 735"/>
                <a:gd name="T31" fmla="*/ 838 h 888"/>
                <a:gd name="T32" fmla="*/ 633 w 735"/>
                <a:gd name="T33" fmla="*/ 888 h 888"/>
                <a:gd name="T34" fmla="*/ 725 w 735"/>
                <a:gd name="T35" fmla="*/ 799 h 888"/>
                <a:gd name="T36" fmla="*/ 693 w 735"/>
                <a:gd name="T37" fmla="*/ 724 h 888"/>
                <a:gd name="T38" fmla="*/ 559 w 735"/>
                <a:gd name="T39" fmla="*/ 561 h 888"/>
                <a:gd name="T40" fmla="*/ 735 w 735"/>
                <a:gd name="T41" fmla="*/ 293 h 888"/>
                <a:gd name="T42" fmla="*/ 735 w 735"/>
                <a:gd name="T43" fmla="*/ 290 h 888"/>
                <a:gd name="T44" fmla="*/ 659 w 735"/>
                <a:gd name="T45" fmla="*/ 89 h 888"/>
                <a:gd name="T46" fmla="*/ 403 w 735"/>
                <a:gd name="T47" fmla="*/ 0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35" h="888">
                  <a:moveTo>
                    <a:pt x="539" y="303"/>
                  </a:moveTo>
                  <a:cubicBezTo>
                    <a:pt x="539" y="377"/>
                    <a:pt x="484" y="428"/>
                    <a:pt x="390" y="428"/>
                  </a:cubicBezTo>
                  <a:cubicBezTo>
                    <a:pt x="194" y="428"/>
                    <a:pt x="194" y="428"/>
                    <a:pt x="194" y="428"/>
                  </a:cubicBezTo>
                  <a:cubicBezTo>
                    <a:pt x="194" y="175"/>
                    <a:pt x="194" y="175"/>
                    <a:pt x="194" y="175"/>
                  </a:cubicBezTo>
                  <a:cubicBezTo>
                    <a:pt x="386" y="175"/>
                    <a:pt x="386" y="175"/>
                    <a:pt x="386" y="175"/>
                  </a:cubicBezTo>
                  <a:cubicBezTo>
                    <a:pt x="481" y="175"/>
                    <a:pt x="539" y="218"/>
                    <a:pt x="539" y="300"/>
                  </a:cubicBezTo>
                  <a:lnTo>
                    <a:pt x="539" y="303"/>
                  </a:lnTo>
                  <a:close/>
                  <a:moveTo>
                    <a:pt x="403" y="0"/>
                  </a:moveTo>
                  <a:cubicBezTo>
                    <a:pt x="97" y="0"/>
                    <a:pt x="97" y="0"/>
                    <a:pt x="97" y="0"/>
                  </a:cubicBezTo>
                  <a:cubicBezTo>
                    <a:pt x="43" y="0"/>
                    <a:pt x="0" y="43"/>
                    <a:pt x="0" y="97"/>
                  </a:cubicBezTo>
                  <a:cubicBezTo>
                    <a:pt x="0" y="791"/>
                    <a:pt x="0" y="791"/>
                    <a:pt x="0" y="791"/>
                  </a:cubicBezTo>
                  <a:cubicBezTo>
                    <a:pt x="0" y="845"/>
                    <a:pt x="43" y="888"/>
                    <a:pt x="97" y="888"/>
                  </a:cubicBezTo>
                  <a:cubicBezTo>
                    <a:pt x="151" y="888"/>
                    <a:pt x="194" y="845"/>
                    <a:pt x="194" y="791"/>
                  </a:cubicBezTo>
                  <a:cubicBezTo>
                    <a:pt x="194" y="599"/>
                    <a:pt x="194" y="599"/>
                    <a:pt x="194" y="599"/>
                  </a:cubicBezTo>
                  <a:cubicBezTo>
                    <a:pt x="349" y="599"/>
                    <a:pt x="349" y="599"/>
                    <a:pt x="349" y="599"/>
                  </a:cubicBezTo>
                  <a:cubicBezTo>
                    <a:pt x="537" y="838"/>
                    <a:pt x="537" y="838"/>
                    <a:pt x="537" y="838"/>
                  </a:cubicBezTo>
                  <a:cubicBezTo>
                    <a:pt x="560" y="866"/>
                    <a:pt x="589" y="888"/>
                    <a:pt x="633" y="888"/>
                  </a:cubicBezTo>
                  <a:cubicBezTo>
                    <a:pt x="679" y="888"/>
                    <a:pt x="725" y="853"/>
                    <a:pt x="725" y="799"/>
                  </a:cubicBezTo>
                  <a:cubicBezTo>
                    <a:pt x="725" y="768"/>
                    <a:pt x="712" y="748"/>
                    <a:pt x="693" y="724"/>
                  </a:cubicBezTo>
                  <a:cubicBezTo>
                    <a:pt x="559" y="561"/>
                    <a:pt x="559" y="561"/>
                    <a:pt x="559" y="561"/>
                  </a:cubicBezTo>
                  <a:cubicBezTo>
                    <a:pt x="666" y="517"/>
                    <a:pt x="735" y="431"/>
                    <a:pt x="735" y="293"/>
                  </a:cubicBezTo>
                  <a:cubicBezTo>
                    <a:pt x="735" y="290"/>
                    <a:pt x="735" y="290"/>
                    <a:pt x="735" y="290"/>
                  </a:cubicBezTo>
                  <a:cubicBezTo>
                    <a:pt x="735" y="207"/>
                    <a:pt x="708" y="138"/>
                    <a:pt x="659" y="89"/>
                  </a:cubicBezTo>
                  <a:cubicBezTo>
                    <a:pt x="601" y="31"/>
                    <a:pt x="515" y="0"/>
                    <a:pt x="40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 dirty="0">
                <a:solidFill>
                  <a:schemeClr val="bg1"/>
                </a:solidFill>
                <a:latin typeface="Gotham Rounded Book" pitchFamily="50" charset="0"/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896938" y="6447631"/>
              <a:ext cx="182563" cy="190500"/>
            </a:xfrm>
            <a:custGeom>
              <a:avLst/>
              <a:gdLst>
                <a:gd name="T0" fmla="*/ 312 w 871"/>
                <a:gd name="T1" fmla="*/ 526 h 902"/>
                <a:gd name="T2" fmla="*/ 434 w 871"/>
                <a:gd name="T3" fmla="*/ 235 h 902"/>
                <a:gd name="T4" fmla="*/ 556 w 871"/>
                <a:gd name="T5" fmla="*/ 526 h 902"/>
                <a:gd name="T6" fmla="*/ 312 w 871"/>
                <a:gd name="T7" fmla="*/ 526 h 902"/>
                <a:gd name="T8" fmla="*/ 861 w 871"/>
                <a:gd name="T9" fmla="*/ 770 h 902"/>
                <a:gd name="T10" fmla="*/ 554 w 871"/>
                <a:gd name="T11" fmla="*/ 77 h 902"/>
                <a:gd name="T12" fmla="*/ 442 w 871"/>
                <a:gd name="T13" fmla="*/ 0 h 902"/>
                <a:gd name="T14" fmla="*/ 431 w 871"/>
                <a:gd name="T15" fmla="*/ 0 h 902"/>
                <a:gd name="T16" fmla="*/ 318 w 871"/>
                <a:gd name="T17" fmla="*/ 77 h 902"/>
                <a:gd name="T18" fmla="*/ 11 w 871"/>
                <a:gd name="T19" fmla="*/ 770 h 902"/>
                <a:gd name="T20" fmla="*/ 0 w 871"/>
                <a:gd name="T21" fmla="*/ 811 h 902"/>
                <a:gd name="T22" fmla="*/ 89 w 871"/>
                <a:gd name="T23" fmla="*/ 902 h 902"/>
                <a:gd name="T24" fmla="*/ 178 w 871"/>
                <a:gd name="T25" fmla="*/ 841 h 902"/>
                <a:gd name="T26" fmla="*/ 240 w 871"/>
                <a:gd name="T27" fmla="*/ 697 h 902"/>
                <a:gd name="T28" fmla="*/ 627 w 871"/>
                <a:gd name="T29" fmla="*/ 697 h 902"/>
                <a:gd name="T30" fmla="*/ 686 w 871"/>
                <a:gd name="T31" fmla="*/ 835 h 902"/>
                <a:gd name="T32" fmla="*/ 779 w 871"/>
                <a:gd name="T33" fmla="*/ 902 h 902"/>
                <a:gd name="T34" fmla="*/ 871 w 871"/>
                <a:gd name="T35" fmla="*/ 809 h 902"/>
                <a:gd name="T36" fmla="*/ 861 w 871"/>
                <a:gd name="T37" fmla="*/ 77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1" h="902">
                  <a:moveTo>
                    <a:pt x="312" y="526"/>
                  </a:moveTo>
                  <a:cubicBezTo>
                    <a:pt x="434" y="235"/>
                    <a:pt x="434" y="235"/>
                    <a:pt x="434" y="235"/>
                  </a:cubicBezTo>
                  <a:cubicBezTo>
                    <a:pt x="556" y="526"/>
                    <a:pt x="556" y="526"/>
                    <a:pt x="556" y="526"/>
                  </a:cubicBezTo>
                  <a:lnTo>
                    <a:pt x="312" y="526"/>
                  </a:lnTo>
                  <a:close/>
                  <a:moveTo>
                    <a:pt x="861" y="770"/>
                  </a:moveTo>
                  <a:cubicBezTo>
                    <a:pt x="554" y="77"/>
                    <a:pt x="554" y="77"/>
                    <a:pt x="554" y="77"/>
                  </a:cubicBezTo>
                  <a:cubicBezTo>
                    <a:pt x="533" y="29"/>
                    <a:pt x="495" y="0"/>
                    <a:pt x="442" y="0"/>
                  </a:cubicBezTo>
                  <a:cubicBezTo>
                    <a:pt x="431" y="0"/>
                    <a:pt x="431" y="0"/>
                    <a:pt x="431" y="0"/>
                  </a:cubicBezTo>
                  <a:cubicBezTo>
                    <a:pt x="378" y="0"/>
                    <a:pt x="339" y="29"/>
                    <a:pt x="318" y="77"/>
                  </a:cubicBezTo>
                  <a:cubicBezTo>
                    <a:pt x="11" y="770"/>
                    <a:pt x="11" y="770"/>
                    <a:pt x="11" y="770"/>
                  </a:cubicBezTo>
                  <a:cubicBezTo>
                    <a:pt x="5" y="784"/>
                    <a:pt x="0" y="797"/>
                    <a:pt x="0" y="811"/>
                  </a:cubicBezTo>
                  <a:cubicBezTo>
                    <a:pt x="0" y="862"/>
                    <a:pt x="39" y="902"/>
                    <a:pt x="89" y="902"/>
                  </a:cubicBezTo>
                  <a:cubicBezTo>
                    <a:pt x="129" y="902"/>
                    <a:pt x="162" y="879"/>
                    <a:pt x="178" y="841"/>
                  </a:cubicBezTo>
                  <a:cubicBezTo>
                    <a:pt x="240" y="697"/>
                    <a:pt x="240" y="697"/>
                    <a:pt x="240" y="697"/>
                  </a:cubicBezTo>
                  <a:cubicBezTo>
                    <a:pt x="627" y="697"/>
                    <a:pt x="627" y="697"/>
                    <a:pt x="627" y="697"/>
                  </a:cubicBezTo>
                  <a:cubicBezTo>
                    <a:pt x="686" y="835"/>
                    <a:pt x="686" y="835"/>
                    <a:pt x="686" y="835"/>
                  </a:cubicBezTo>
                  <a:cubicBezTo>
                    <a:pt x="704" y="875"/>
                    <a:pt x="734" y="902"/>
                    <a:pt x="779" y="902"/>
                  </a:cubicBezTo>
                  <a:cubicBezTo>
                    <a:pt x="831" y="902"/>
                    <a:pt x="871" y="860"/>
                    <a:pt x="871" y="809"/>
                  </a:cubicBezTo>
                  <a:cubicBezTo>
                    <a:pt x="871" y="796"/>
                    <a:pt x="867" y="784"/>
                    <a:pt x="861" y="7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800" dirty="0">
                <a:solidFill>
                  <a:schemeClr val="bg1"/>
                </a:solidFill>
                <a:latin typeface="Gotham Rounded Book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8924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819" r:id="rId8"/>
    <p:sldLayoutId id="2147483820" r:id="rId9"/>
  </p:sldLayoutIdLst>
  <p:hf sldNum="0" hdr="0" ftr="0" dt="0"/>
  <p:txStyles>
    <p:titleStyle>
      <a:lvl1pPr algn="l" defTabSz="342523" rtl="0" eaLnBrk="1" latinLnBrk="0" hangingPunct="1">
        <a:spcBef>
          <a:spcPct val="0"/>
        </a:spcBef>
        <a:buNone/>
        <a:defRPr sz="2100" b="1" i="0" kern="1200">
          <a:solidFill>
            <a:schemeClr val="accent3"/>
          </a:solidFill>
          <a:latin typeface="Arial"/>
          <a:ea typeface="+mj-ea"/>
          <a:cs typeface="+mj-cs"/>
        </a:defRPr>
      </a:lvl1pPr>
    </p:titleStyle>
    <p:bodyStyle>
      <a:lvl1pPr marL="256892" indent="-256892" algn="l" defTabSz="342523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11"/>
        </a:buBlip>
        <a:defRPr sz="1500" kern="1200" baseline="0">
          <a:solidFill>
            <a:schemeClr val="accent3"/>
          </a:solidFill>
          <a:latin typeface="Arial"/>
          <a:ea typeface="+mn-ea"/>
          <a:cs typeface="+mn-cs"/>
        </a:defRPr>
      </a:lvl1pPr>
      <a:lvl2pPr marL="556599" indent="-214076" algn="l" defTabSz="342523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11"/>
        </a:buBlip>
        <a:defRPr sz="1200" kern="1200" baseline="0">
          <a:solidFill>
            <a:schemeClr val="accent3"/>
          </a:solidFill>
          <a:latin typeface="Arial"/>
          <a:ea typeface="+mn-ea"/>
          <a:cs typeface="+mn-cs"/>
        </a:defRPr>
      </a:lvl2pPr>
      <a:lvl3pPr marL="856304" indent="-171261" algn="l" defTabSz="342523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11"/>
        </a:buBlip>
        <a:defRPr sz="1000" kern="1200" baseline="0">
          <a:solidFill>
            <a:schemeClr val="accent3"/>
          </a:solidFill>
          <a:latin typeface="Arial"/>
          <a:ea typeface="+mn-ea"/>
          <a:cs typeface="+mn-cs"/>
        </a:defRPr>
      </a:lvl3pPr>
      <a:lvl4pPr marL="1198828" indent="-171261" algn="l" defTabSz="342523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11"/>
        </a:buBlip>
        <a:defRPr sz="900" kern="1200" baseline="0">
          <a:solidFill>
            <a:schemeClr val="accent3"/>
          </a:solidFill>
          <a:latin typeface="Arial"/>
          <a:ea typeface="+mn-ea"/>
          <a:cs typeface="+mn-cs"/>
        </a:defRPr>
      </a:lvl4pPr>
      <a:lvl5pPr marL="1541350" indent="-171261" algn="l" defTabSz="342523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11"/>
        </a:buBlip>
        <a:defRPr sz="700" kern="1200" baseline="0">
          <a:solidFill>
            <a:schemeClr val="accent3"/>
          </a:solidFill>
          <a:latin typeface="Arial"/>
          <a:ea typeface="+mn-ea"/>
          <a:cs typeface="+mn-cs"/>
        </a:defRPr>
      </a:lvl5pPr>
      <a:lvl6pPr marL="1883871" indent="-171261" algn="l" defTabSz="34252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6394" indent="-171261" algn="l" defTabSz="34252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68916" indent="-171261" algn="l" defTabSz="34252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1437" indent="-171261" algn="l" defTabSz="34252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52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523" algn="l" defTabSz="34252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5045" algn="l" defTabSz="34252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567" algn="l" defTabSz="34252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088" algn="l" defTabSz="34252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2611" algn="l" defTabSz="34252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5134" algn="l" defTabSz="34252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7654" algn="l" defTabSz="34252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40178" algn="l" defTabSz="342523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9803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84" r:id="rId2"/>
    <p:sldLayoutId id="2147483782" r:id="rId3"/>
    <p:sldLayoutId id="2147483795" r:id="rId4"/>
    <p:sldLayoutId id="2147483788" r:id="rId5"/>
    <p:sldLayoutId id="2147483785" r:id="rId6"/>
    <p:sldLayoutId id="2147483783" r:id="rId7"/>
    <p:sldLayoutId id="2147483787" r:id="rId8"/>
    <p:sldLayoutId id="2147483811" r:id="rId9"/>
    <p:sldLayoutId id="2147483814" r:id="rId10"/>
    <p:sldLayoutId id="2147483815" r:id="rId11"/>
  </p:sldLayoutIdLst>
  <p:hf sldNum="0" hdr="0" ftr="0" dt="0"/>
  <p:txStyles>
    <p:titleStyle>
      <a:lvl1pPr algn="l" defTabSz="342475" rtl="0" eaLnBrk="1" latinLnBrk="0" hangingPunct="1">
        <a:spcBef>
          <a:spcPct val="0"/>
        </a:spcBef>
        <a:buNone/>
        <a:defRPr sz="2200" kern="1200">
          <a:solidFill>
            <a:schemeClr val="bg1"/>
          </a:solidFill>
          <a:latin typeface="Arial"/>
          <a:ea typeface="+mj-ea"/>
          <a:cs typeface="+mj-cs"/>
        </a:defRPr>
      </a:lvl1pPr>
    </p:titleStyle>
    <p:bodyStyle>
      <a:lvl1pPr marL="256858" indent="-256858" algn="l" defTabSz="342475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13"/>
        </a:buBlip>
        <a:defRPr sz="1500" kern="1200" baseline="0">
          <a:solidFill>
            <a:srgbClr val="646464"/>
          </a:solidFill>
          <a:latin typeface="Arial"/>
          <a:ea typeface="+mn-ea"/>
          <a:cs typeface="+mn-cs"/>
        </a:defRPr>
      </a:lvl1pPr>
      <a:lvl2pPr marL="556523" indent="-214047" algn="l" defTabSz="342475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13"/>
        </a:buBlip>
        <a:defRPr sz="1200" kern="1200" baseline="0">
          <a:solidFill>
            <a:srgbClr val="646464"/>
          </a:solidFill>
          <a:latin typeface="Arial"/>
          <a:ea typeface="+mn-ea"/>
          <a:cs typeface="+mn-cs"/>
        </a:defRPr>
      </a:lvl2pPr>
      <a:lvl3pPr marL="856191" indent="-171239" algn="l" defTabSz="342475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13"/>
        </a:buBlip>
        <a:defRPr sz="1000" kern="1200" baseline="0">
          <a:solidFill>
            <a:srgbClr val="646464"/>
          </a:solidFill>
          <a:latin typeface="Arial"/>
          <a:ea typeface="+mn-ea"/>
          <a:cs typeface="+mn-cs"/>
        </a:defRPr>
      </a:lvl3pPr>
      <a:lvl4pPr marL="1198667" indent="-171239" algn="l" defTabSz="342475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13"/>
        </a:buBlip>
        <a:defRPr sz="900" kern="1200" baseline="0">
          <a:solidFill>
            <a:srgbClr val="646464"/>
          </a:solidFill>
          <a:latin typeface="Arial"/>
          <a:ea typeface="+mn-ea"/>
          <a:cs typeface="+mn-cs"/>
        </a:defRPr>
      </a:lvl4pPr>
      <a:lvl5pPr marL="1541143" indent="-171239" algn="l" defTabSz="342475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13"/>
        </a:buBlip>
        <a:defRPr sz="700" kern="1200" baseline="0">
          <a:solidFill>
            <a:srgbClr val="646464"/>
          </a:solidFill>
          <a:latin typeface="Arial"/>
          <a:ea typeface="+mn-ea"/>
          <a:cs typeface="+mn-cs"/>
        </a:defRPr>
      </a:lvl5pPr>
      <a:lvl6pPr marL="1883619" indent="-171239" algn="l" defTabSz="34247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6095" indent="-171239" algn="l" defTabSz="34247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68572" indent="-171239" algn="l" defTabSz="34247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1047" indent="-171239" algn="l" defTabSz="34247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475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4953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428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69904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2382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4858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7333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39809" algn="l" defTabSz="34247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E66B84A-99E8-46FD-892D-259E2D6CBE3F}"/>
              </a:ext>
            </a:extLst>
          </p:cNvPr>
          <p:cNvGrpSpPr/>
          <p:nvPr userDrawn="1"/>
        </p:nvGrpSpPr>
        <p:grpSpPr>
          <a:xfrm>
            <a:off x="4181440" y="1868373"/>
            <a:ext cx="781120" cy="754205"/>
            <a:chOff x="4181440" y="1868373"/>
            <a:chExt cx="781120" cy="754205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auto">
            <a:xfrm>
              <a:off x="4181440" y="1868373"/>
              <a:ext cx="413471" cy="754205"/>
            </a:xfrm>
            <a:custGeom>
              <a:avLst/>
              <a:gdLst>
                <a:gd name="T0" fmla="*/ 40 w 1140"/>
                <a:gd name="T1" fmla="*/ 268 h 2076"/>
                <a:gd name="T2" fmla="*/ 128 w 1140"/>
                <a:gd name="T3" fmla="*/ 39 h 2076"/>
                <a:gd name="T4" fmla="*/ 357 w 1140"/>
                <a:gd name="T5" fmla="*/ 128 h 2076"/>
                <a:gd name="T6" fmla="*/ 1101 w 1140"/>
                <a:gd name="T7" fmla="*/ 1808 h 2076"/>
                <a:gd name="T8" fmla="*/ 1012 w 1140"/>
                <a:gd name="T9" fmla="*/ 2037 h 2076"/>
                <a:gd name="T10" fmla="*/ 784 w 1140"/>
                <a:gd name="T11" fmla="*/ 1948 h 2076"/>
                <a:gd name="T12" fmla="*/ 40 w 1140"/>
                <a:gd name="T13" fmla="*/ 268 h 20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0" h="2076">
                  <a:moveTo>
                    <a:pt x="40" y="268"/>
                  </a:moveTo>
                  <a:cubicBezTo>
                    <a:pt x="0" y="179"/>
                    <a:pt x="39" y="79"/>
                    <a:pt x="128" y="39"/>
                  </a:cubicBezTo>
                  <a:cubicBezTo>
                    <a:pt x="216" y="0"/>
                    <a:pt x="317" y="39"/>
                    <a:pt x="357" y="128"/>
                  </a:cubicBezTo>
                  <a:cubicBezTo>
                    <a:pt x="1101" y="1808"/>
                    <a:pt x="1101" y="1808"/>
                    <a:pt x="1101" y="1808"/>
                  </a:cubicBezTo>
                  <a:cubicBezTo>
                    <a:pt x="1140" y="1896"/>
                    <a:pt x="1101" y="1997"/>
                    <a:pt x="1012" y="2037"/>
                  </a:cubicBezTo>
                  <a:cubicBezTo>
                    <a:pt x="924" y="2076"/>
                    <a:pt x="823" y="2037"/>
                    <a:pt x="784" y="1948"/>
                  </a:cubicBezTo>
                  <a:lnTo>
                    <a:pt x="40" y="268"/>
                  </a:lnTo>
                  <a:close/>
                </a:path>
              </a:pathLst>
            </a:custGeom>
            <a:solidFill>
              <a:srgbClr val="F99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9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Rounded Book" pitchFamily="50" charset="0"/>
              </a:endParaRPr>
            </a:p>
          </p:txBody>
        </p:sp>
        <p:sp>
          <p:nvSpPr>
            <p:cNvPr id="11" name="Freeform 6"/>
            <p:cNvSpPr>
              <a:spLocks/>
            </p:cNvSpPr>
            <p:nvPr userDrawn="1"/>
          </p:nvSpPr>
          <p:spPr bwMode="auto">
            <a:xfrm>
              <a:off x="4454246" y="1868373"/>
              <a:ext cx="330351" cy="565654"/>
            </a:xfrm>
            <a:custGeom>
              <a:avLst/>
              <a:gdLst>
                <a:gd name="T0" fmla="*/ 39 w 909"/>
                <a:gd name="T1" fmla="*/ 268 h 1556"/>
                <a:gd name="T2" fmla="*/ 127 w 909"/>
                <a:gd name="T3" fmla="*/ 39 h 1556"/>
                <a:gd name="T4" fmla="*/ 356 w 909"/>
                <a:gd name="T5" fmla="*/ 128 h 1556"/>
                <a:gd name="T6" fmla="*/ 869 w 909"/>
                <a:gd name="T7" fmla="*/ 1288 h 1556"/>
                <a:gd name="T8" fmla="*/ 781 w 909"/>
                <a:gd name="T9" fmla="*/ 1516 h 1556"/>
                <a:gd name="T10" fmla="*/ 552 w 909"/>
                <a:gd name="T11" fmla="*/ 1428 h 1556"/>
                <a:gd name="T12" fmla="*/ 39 w 909"/>
                <a:gd name="T13" fmla="*/ 268 h 1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9" h="1556">
                  <a:moveTo>
                    <a:pt x="39" y="268"/>
                  </a:moveTo>
                  <a:cubicBezTo>
                    <a:pt x="0" y="179"/>
                    <a:pt x="39" y="79"/>
                    <a:pt x="127" y="39"/>
                  </a:cubicBezTo>
                  <a:cubicBezTo>
                    <a:pt x="216" y="0"/>
                    <a:pt x="317" y="39"/>
                    <a:pt x="356" y="128"/>
                  </a:cubicBezTo>
                  <a:cubicBezTo>
                    <a:pt x="869" y="1288"/>
                    <a:pt x="869" y="1288"/>
                    <a:pt x="869" y="1288"/>
                  </a:cubicBezTo>
                  <a:cubicBezTo>
                    <a:pt x="909" y="1376"/>
                    <a:pt x="870" y="1477"/>
                    <a:pt x="781" y="1516"/>
                  </a:cubicBezTo>
                  <a:cubicBezTo>
                    <a:pt x="693" y="1556"/>
                    <a:pt x="592" y="1517"/>
                    <a:pt x="552" y="1428"/>
                  </a:cubicBezTo>
                  <a:lnTo>
                    <a:pt x="39" y="268"/>
                  </a:lnTo>
                  <a:close/>
                </a:path>
              </a:pathLst>
            </a:custGeom>
            <a:solidFill>
              <a:srgbClr val="F99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9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Rounded Book" pitchFamily="50" charset="0"/>
              </a:endParaRPr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4728118" y="1868373"/>
              <a:ext cx="234442" cy="348341"/>
            </a:xfrm>
            <a:custGeom>
              <a:avLst/>
              <a:gdLst>
                <a:gd name="T0" fmla="*/ 40 w 644"/>
                <a:gd name="T1" fmla="*/ 268 h 957"/>
                <a:gd name="T2" fmla="*/ 128 w 644"/>
                <a:gd name="T3" fmla="*/ 39 h 957"/>
                <a:gd name="T4" fmla="*/ 356 w 644"/>
                <a:gd name="T5" fmla="*/ 127 h 957"/>
                <a:gd name="T6" fmla="*/ 604 w 644"/>
                <a:gd name="T7" fmla="*/ 689 h 957"/>
                <a:gd name="T8" fmla="*/ 516 w 644"/>
                <a:gd name="T9" fmla="*/ 917 h 957"/>
                <a:gd name="T10" fmla="*/ 287 w 644"/>
                <a:gd name="T11" fmla="*/ 829 h 957"/>
                <a:gd name="T12" fmla="*/ 40 w 644"/>
                <a:gd name="T13" fmla="*/ 268 h 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4" h="957">
                  <a:moveTo>
                    <a:pt x="40" y="268"/>
                  </a:moveTo>
                  <a:cubicBezTo>
                    <a:pt x="0" y="179"/>
                    <a:pt x="39" y="78"/>
                    <a:pt x="128" y="39"/>
                  </a:cubicBezTo>
                  <a:cubicBezTo>
                    <a:pt x="216" y="0"/>
                    <a:pt x="317" y="39"/>
                    <a:pt x="356" y="127"/>
                  </a:cubicBezTo>
                  <a:cubicBezTo>
                    <a:pt x="604" y="689"/>
                    <a:pt x="604" y="689"/>
                    <a:pt x="604" y="689"/>
                  </a:cubicBezTo>
                  <a:cubicBezTo>
                    <a:pt x="644" y="777"/>
                    <a:pt x="604" y="878"/>
                    <a:pt x="516" y="917"/>
                  </a:cubicBezTo>
                  <a:cubicBezTo>
                    <a:pt x="428" y="957"/>
                    <a:pt x="327" y="918"/>
                    <a:pt x="287" y="829"/>
                  </a:cubicBezTo>
                  <a:lnTo>
                    <a:pt x="40" y="268"/>
                  </a:lnTo>
                  <a:close/>
                </a:path>
              </a:pathLst>
            </a:custGeom>
            <a:solidFill>
              <a:srgbClr val="F99D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9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Rounded Book" pitchFamily="50" charset="0"/>
              </a:endParaRPr>
            </a:p>
          </p:txBody>
        </p:sp>
      </p:grpSp>
      <p:pic>
        <p:nvPicPr>
          <p:cNvPr id="7" name="Picture 5" descr="C:\Users\kocour\Documents\00 CRa\10_2016\07.10 ppt sablony\podklady\media telco cloud.png">
            <a:extLst>
              <a:ext uri="{FF2B5EF4-FFF2-40B4-BE49-F238E27FC236}">
                <a16:creationId xmlns:a16="http://schemas.microsoft.com/office/drawing/2014/main" id="{33AC408A-E6C3-4D52-9B2D-3460D447A02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673" y="4861762"/>
            <a:ext cx="1811767" cy="94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3290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800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342569" rtl="0" eaLnBrk="1" latinLnBrk="0" hangingPunct="1">
        <a:spcBef>
          <a:spcPct val="0"/>
        </a:spcBef>
        <a:buNone/>
        <a:defRPr sz="2200" kern="1200">
          <a:solidFill>
            <a:srgbClr val="646464"/>
          </a:solidFill>
          <a:latin typeface="Arial"/>
          <a:ea typeface="+mj-ea"/>
          <a:cs typeface="+mj-cs"/>
        </a:defRPr>
      </a:lvl1pPr>
    </p:titleStyle>
    <p:bodyStyle>
      <a:lvl1pPr marL="256926" indent="-256926" algn="l" defTabSz="342569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5"/>
        </a:buBlip>
        <a:defRPr sz="1500" kern="1200" baseline="0">
          <a:solidFill>
            <a:srgbClr val="646464"/>
          </a:solidFill>
          <a:latin typeface="Arial"/>
          <a:ea typeface="+mn-ea"/>
          <a:cs typeface="+mn-cs"/>
        </a:defRPr>
      </a:lvl1pPr>
      <a:lvl2pPr marL="556673" indent="-214105" algn="l" defTabSz="342569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5"/>
        </a:buBlip>
        <a:defRPr sz="1200" kern="1200" baseline="0">
          <a:solidFill>
            <a:srgbClr val="646464"/>
          </a:solidFill>
          <a:latin typeface="Arial"/>
          <a:ea typeface="+mn-ea"/>
          <a:cs typeface="+mn-cs"/>
        </a:defRPr>
      </a:lvl2pPr>
      <a:lvl3pPr marL="856420" indent="-171284" algn="l" defTabSz="342569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5"/>
        </a:buBlip>
        <a:defRPr sz="1000" kern="1200" baseline="0">
          <a:solidFill>
            <a:srgbClr val="646464"/>
          </a:solidFill>
          <a:latin typeface="Arial"/>
          <a:ea typeface="+mn-ea"/>
          <a:cs typeface="+mn-cs"/>
        </a:defRPr>
      </a:lvl3pPr>
      <a:lvl4pPr marL="1198988" indent="-171284" algn="l" defTabSz="342569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5"/>
        </a:buBlip>
        <a:defRPr sz="900" kern="1200" baseline="0">
          <a:solidFill>
            <a:srgbClr val="646464"/>
          </a:solidFill>
          <a:latin typeface="Arial"/>
          <a:ea typeface="+mn-ea"/>
          <a:cs typeface="+mn-cs"/>
        </a:defRPr>
      </a:lvl4pPr>
      <a:lvl5pPr marL="1541557" indent="-171284" algn="l" defTabSz="342569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5"/>
        </a:buBlip>
        <a:defRPr sz="700" kern="1200" baseline="0">
          <a:solidFill>
            <a:srgbClr val="646464"/>
          </a:solidFill>
          <a:latin typeface="Arial"/>
          <a:ea typeface="+mn-ea"/>
          <a:cs typeface="+mn-cs"/>
        </a:defRPr>
      </a:lvl5pPr>
      <a:lvl6pPr marL="1884124" indent="-171284" algn="l" defTabSz="342569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6692" indent="-171284" algn="l" defTabSz="342569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69261" indent="-171284" algn="l" defTabSz="342569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1828" indent="-171284" algn="l" defTabSz="342569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42569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85136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705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273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712841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55407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97976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740543" algn="l" defTabSz="342569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9"/>
          <p:cNvSpPr/>
          <p:nvPr/>
        </p:nvSpPr>
        <p:spPr>
          <a:xfrm>
            <a:off x="0" y="4666169"/>
            <a:ext cx="9145190" cy="4761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350"/>
          </a:p>
        </p:txBody>
      </p:sp>
      <p:sp>
        <p:nvSpPr>
          <p:cNvPr id="12" name="Holder 7"/>
          <p:cNvSpPr txBox="1">
            <a:spLocks/>
          </p:cNvSpPr>
          <p:nvPr/>
        </p:nvSpPr>
        <p:spPr>
          <a:xfrm>
            <a:off x="8605358" y="4797077"/>
            <a:ext cx="271152" cy="176755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999"/>
            <a:fld id="{BDF16F34-6540-4C08-9D8B-DEC95D224B7C}" type="slidenum">
              <a:rPr lang="cs-CZ" sz="900" noProof="0" smtClean="0">
                <a:solidFill>
                  <a:schemeClr val="bg1"/>
                </a:solidFill>
                <a:latin typeface="Arial"/>
                <a:cs typeface="Arial"/>
              </a:rPr>
              <a:pPr marL="38999"/>
              <a:t>‹#›</a:t>
            </a:fld>
            <a:endParaRPr lang="cs-CZ" sz="900" noProof="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9" name="Skupina 36"/>
          <p:cNvGrpSpPr/>
          <p:nvPr/>
        </p:nvGrpSpPr>
        <p:grpSpPr>
          <a:xfrm>
            <a:off x="387004" y="4832223"/>
            <a:ext cx="621587" cy="183314"/>
            <a:chOff x="515938" y="6444456"/>
            <a:chExt cx="828675" cy="244475"/>
          </a:xfrm>
        </p:grpSpPr>
        <p:grpSp>
          <p:nvGrpSpPr>
            <p:cNvPr id="10" name="Skupina 29"/>
            <p:cNvGrpSpPr/>
            <p:nvPr userDrawn="1"/>
          </p:nvGrpSpPr>
          <p:grpSpPr>
            <a:xfrm>
              <a:off x="1092201" y="6444456"/>
              <a:ext cx="252412" cy="244475"/>
              <a:chOff x="1092201" y="6454775"/>
              <a:chExt cx="252412" cy="244475"/>
            </a:xfrm>
          </p:grpSpPr>
          <p:sp>
            <p:nvSpPr>
              <p:cNvPr id="16" name="Freeform 5"/>
              <p:cNvSpPr>
                <a:spLocks/>
              </p:cNvSpPr>
              <p:nvPr userDrawn="1"/>
            </p:nvSpPr>
            <p:spPr bwMode="auto">
              <a:xfrm>
                <a:off x="1092201" y="6454775"/>
                <a:ext cx="133350" cy="244475"/>
              </a:xfrm>
              <a:custGeom>
                <a:avLst/>
                <a:gdLst>
                  <a:gd name="T0" fmla="*/ 22 w 636"/>
                  <a:gd name="T1" fmla="*/ 150 h 1159"/>
                  <a:gd name="T2" fmla="*/ 72 w 636"/>
                  <a:gd name="T3" fmla="*/ 22 h 1159"/>
                  <a:gd name="T4" fmla="*/ 199 w 636"/>
                  <a:gd name="T5" fmla="*/ 72 h 1159"/>
                  <a:gd name="T6" fmla="*/ 614 w 636"/>
                  <a:gd name="T7" fmla="*/ 1009 h 1159"/>
                  <a:gd name="T8" fmla="*/ 565 w 636"/>
                  <a:gd name="T9" fmla="*/ 1137 h 1159"/>
                  <a:gd name="T10" fmla="*/ 437 w 636"/>
                  <a:gd name="T11" fmla="*/ 1087 h 1159"/>
                  <a:gd name="T12" fmla="*/ 22 w 636"/>
                  <a:gd name="T13" fmla="*/ 150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36" h="1159">
                    <a:moveTo>
                      <a:pt x="22" y="150"/>
                    </a:moveTo>
                    <a:cubicBezTo>
                      <a:pt x="0" y="100"/>
                      <a:pt x="22" y="44"/>
                      <a:pt x="72" y="22"/>
                    </a:cubicBezTo>
                    <a:cubicBezTo>
                      <a:pt x="121" y="0"/>
                      <a:pt x="177" y="22"/>
                      <a:pt x="199" y="72"/>
                    </a:cubicBezTo>
                    <a:cubicBezTo>
                      <a:pt x="614" y="1009"/>
                      <a:pt x="614" y="1009"/>
                      <a:pt x="614" y="1009"/>
                    </a:cubicBezTo>
                    <a:cubicBezTo>
                      <a:pt x="636" y="1059"/>
                      <a:pt x="614" y="1115"/>
                      <a:pt x="565" y="1137"/>
                    </a:cubicBezTo>
                    <a:cubicBezTo>
                      <a:pt x="516" y="1159"/>
                      <a:pt x="459" y="1137"/>
                      <a:pt x="437" y="1087"/>
                    </a:cubicBezTo>
                    <a:lnTo>
                      <a:pt x="22" y="150"/>
                    </a:lnTo>
                    <a:close/>
                  </a:path>
                </a:pathLst>
              </a:custGeom>
              <a:solidFill>
                <a:srgbClr val="F99D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sz="135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Freeform 6"/>
              <p:cNvSpPr>
                <a:spLocks/>
              </p:cNvSpPr>
              <p:nvPr userDrawn="1"/>
            </p:nvSpPr>
            <p:spPr bwMode="auto">
              <a:xfrm>
                <a:off x="1181101" y="6454775"/>
                <a:ext cx="106363" cy="182563"/>
              </a:xfrm>
              <a:custGeom>
                <a:avLst/>
                <a:gdLst>
                  <a:gd name="T0" fmla="*/ 22 w 507"/>
                  <a:gd name="T1" fmla="*/ 150 h 868"/>
                  <a:gd name="T2" fmla="*/ 71 w 507"/>
                  <a:gd name="T3" fmla="*/ 22 h 868"/>
                  <a:gd name="T4" fmla="*/ 199 w 507"/>
                  <a:gd name="T5" fmla="*/ 72 h 868"/>
                  <a:gd name="T6" fmla="*/ 486 w 507"/>
                  <a:gd name="T7" fmla="*/ 719 h 868"/>
                  <a:gd name="T8" fmla="*/ 436 w 507"/>
                  <a:gd name="T9" fmla="*/ 847 h 868"/>
                  <a:gd name="T10" fmla="*/ 309 w 507"/>
                  <a:gd name="T11" fmla="*/ 797 h 868"/>
                  <a:gd name="T12" fmla="*/ 22 w 507"/>
                  <a:gd name="T13" fmla="*/ 150 h 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7" h="868">
                    <a:moveTo>
                      <a:pt x="22" y="150"/>
                    </a:moveTo>
                    <a:cubicBezTo>
                      <a:pt x="0" y="100"/>
                      <a:pt x="22" y="44"/>
                      <a:pt x="71" y="22"/>
                    </a:cubicBezTo>
                    <a:cubicBezTo>
                      <a:pt x="121" y="0"/>
                      <a:pt x="177" y="22"/>
                      <a:pt x="199" y="72"/>
                    </a:cubicBezTo>
                    <a:cubicBezTo>
                      <a:pt x="486" y="719"/>
                      <a:pt x="486" y="719"/>
                      <a:pt x="486" y="719"/>
                    </a:cubicBezTo>
                    <a:cubicBezTo>
                      <a:pt x="507" y="768"/>
                      <a:pt x="486" y="825"/>
                      <a:pt x="436" y="847"/>
                    </a:cubicBezTo>
                    <a:cubicBezTo>
                      <a:pt x="387" y="868"/>
                      <a:pt x="331" y="847"/>
                      <a:pt x="309" y="797"/>
                    </a:cubicBezTo>
                    <a:lnTo>
                      <a:pt x="22" y="150"/>
                    </a:lnTo>
                    <a:close/>
                  </a:path>
                </a:pathLst>
              </a:custGeom>
              <a:solidFill>
                <a:srgbClr val="F99D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sz="135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Freeform 7"/>
              <p:cNvSpPr>
                <a:spLocks/>
              </p:cNvSpPr>
              <p:nvPr userDrawn="1"/>
            </p:nvSpPr>
            <p:spPr bwMode="auto">
              <a:xfrm>
                <a:off x="1268413" y="6454775"/>
                <a:ext cx="76200" cy="112713"/>
              </a:xfrm>
              <a:custGeom>
                <a:avLst/>
                <a:gdLst>
                  <a:gd name="T0" fmla="*/ 22 w 359"/>
                  <a:gd name="T1" fmla="*/ 149 h 534"/>
                  <a:gd name="T2" fmla="*/ 71 w 359"/>
                  <a:gd name="T3" fmla="*/ 22 h 534"/>
                  <a:gd name="T4" fmla="*/ 199 w 359"/>
                  <a:gd name="T5" fmla="*/ 71 h 534"/>
                  <a:gd name="T6" fmla="*/ 337 w 359"/>
                  <a:gd name="T7" fmla="*/ 384 h 534"/>
                  <a:gd name="T8" fmla="*/ 288 w 359"/>
                  <a:gd name="T9" fmla="*/ 512 h 534"/>
                  <a:gd name="T10" fmla="*/ 160 w 359"/>
                  <a:gd name="T11" fmla="*/ 462 h 534"/>
                  <a:gd name="T12" fmla="*/ 22 w 359"/>
                  <a:gd name="T13" fmla="*/ 149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9" h="534">
                    <a:moveTo>
                      <a:pt x="22" y="149"/>
                    </a:moveTo>
                    <a:cubicBezTo>
                      <a:pt x="0" y="100"/>
                      <a:pt x="22" y="43"/>
                      <a:pt x="71" y="22"/>
                    </a:cubicBezTo>
                    <a:cubicBezTo>
                      <a:pt x="120" y="0"/>
                      <a:pt x="177" y="21"/>
                      <a:pt x="199" y="71"/>
                    </a:cubicBezTo>
                    <a:cubicBezTo>
                      <a:pt x="337" y="384"/>
                      <a:pt x="337" y="384"/>
                      <a:pt x="337" y="384"/>
                    </a:cubicBezTo>
                    <a:cubicBezTo>
                      <a:pt x="359" y="434"/>
                      <a:pt x="337" y="490"/>
                      <a:pt x="288" y="512"/>
                    </a:cubicBezTo>
                    <a:cubicBezTo>
                      <a:pt x="238" y="534"/>
                      <a:pt x="182" y="512"/>
                      <a:pt x="160" y="462"/>
                    </a:cubicBezTo>
                    <a:lnTo>
                      <a:pt x="22" y="149"/>
                    </a:lnTo>
                    <a:close/>
                  </a:path>
                </a:pathLst>
              </a:custGeom>
              <a:solidFill>
                <a:srgbClr val="F99D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cs-CZ" sz="135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515938" y="6447631"/>
              <a:ext cx="168275" cy="192088"/>
            </a:xfrm>
            <a:custGeom>
              <a:avLst/>
              <a:gdLst>
                <a:gd name="T0" fmla="*/ 706 w 797"/>
                <a:gd name="T1" fmla="*/ 641 h 910"/>
                <a:gd name="T2" fmla="*/ 648 w 797"/>
                <a:gd name="T3" fmla="*/ 663 h 910"/>
                <a:gd name="T4" fmla="*/ 457 w 797"/>
                <a:gd name="T5" fmla="*/ 732 h 910"/>
                <a:gd name="T6" fmla="*/ 202 w 797"/>
                <a:gd name="T7" fmla="*/ 455 h 910"/>
                <a:gd name="T8" fmla="*/ 202 w 797"/>
                <a:gd name="T9" fmla="*/ 453 h 910"/>
                <a:gd name="T10" fmla="*/ 457 w 797"/>
                <a:gd name="T11" fmla="*/ 178 h 910"/>
                <a:gd name="T12" fmla="*/ 637 w 797"/>
                <a:gd name="T13" fmla="*/ 241 h 910"/>
                <a:gd name="T14" fmla="*/ 695 w 797"/>
                <a:gd name="T15" fmla="*/ 260 h 910"/>
                <a:gd name="T16" fmla="*/ 791 w 797"/>
                <a:gd name="T17" fmla="*/ 166 h 910"/>
                <a:gd name="T18" fmla="*/ 753 w 797"/>
                <a:gd name="T19" fmla="*/ 89 h 910"/>
                <a:gd name="T20" fmla="*/ 459 w 797"/>
                <a:gd name="T21" fmla="*/ 0 h 910"/>
                <a:gd name="T22" fmla="*/ 0 w 797"/>
                <a:gd name="T23" fmla="*/ 455 h 910"/>
                <a:gd name="T24" fmla="*/ 0 w 797"/>
                <a:gd name="T25" fmla="*/ 458 h 910"/>
                <a:gd name="T26" fmla="*/ 451 w 797"/>
                <a:gd name="T27" fmla="*/ 910 h 910"/>
                <a:gd name="T28" fmla="*/ 764 w 797"/>
                <a:gd name="T29" fmla="*/ 800 h 910"/>
                <a:gd name="T30" fmla="*/ 797 w 797"/>
                <a:gd name="T31" fmla="*/ 731 h 910"/>
                <a:gd name="T32" fmla="*/ 706 w 797"/>
                <a:gd name="T33" fmla="*/ 641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97" h="910">
                  <a:moveTo>
                    <a:pt x="706" y="641"/>
                  </a:moveTo>
                  <a:cubicBezTo>
                    <a:pt x="684" y="641"/>
                    <a:pt x="664" y="650"/>
                    <a:pt x="648" y="663"/>
                  </a:cubicBezTo>
                  <a:cubicBezTo>
                    <a:pt x="593" y="707"/>
                    <a:pt x="539" y="732"/>
                    <a:pt x="457" y="732"/>
                  </a:cubicBezTo>
                  <a:cubicBezTo>
                    <a:pt x="306" y="732"/>
                    <a:pt x="202" y="606"/>
                    <a:pt x="202" y="455"/>
                  </a:cubicBezTo>
                  <a:cubicBezTo>
                    <a:pt x="202" y="453"/>
                    <a:pt x="202" y="453"/>
                    <a:pt x="202" y="453"/>
                  </a:cubicBezTo>
                  <a:cubicBezTo>
                    <a:pt x="202" y="302"/>
                    <a:pt x="309" y="178"/>
                    <a:pt x="457" y="178"/>
                  </a:cubicBezTo>
                  <a:cubicBezTo>
                    <a:pt x="527" y="178"/>
                    <a:pt x="583" y="201"/>
                    <a:pt x="637" y="241"/>
                  </a:cubicBezTo>
                  <a:cubicBezTo>
                    <a:pt x="651" y="250"/>
                    <a:pt x="669" y="260"/>
                    <a:pt x="695" y="260"/>
                  </a:cubicBezTo>
                  <a:cubicBezTo>
                    <a:pt x="748" y="260"/>
                    <a:pt x="791" y="219"/>
                    <a:pt x="791" y="166"/>
                  </a:cubicBezTo>
                  <a:cubicBezTo>
                    <a:pt x="791" y="132"/>
                    <a:pt x="773" y="104"/>
                    <a:pt x="753" y="89"/>
                  </a:cubicBezTo>
                  <a:cubicBezTo>
                    <a:pt x="680" y="35"/>
                    <a:pt x="591" y="0"/>
                    <a:pt x="459" y="0"/>
                  </a:cubicBezTo>
                  <a:cubicBezTo>
                    <a:pt x="188" y="0"/>
                    <a:pt x="0" y="205"/>
                    <a:pt x="0" y="455"/>
                  </a:cubicBezTo>
                  <a:cubicBezTo>
                    <a:pt x="0" y="458"/>
                    <a:pt x="0" y="458"/>
                    <a:pt x="0" y="458"/>
                  </a:cubicBezTo>
                  <a:cubicBezTo>
                    <a:pt x="0" y="710"/>
                    <a:pt x="192" y="910"/>
                    <a:pt x="451" y="910"/>
                  </a:cubicBezTo>
                  <a:cubicBezTo>
                    <a:pt x="592" y="910"/>
                    <a:pt x="685" y="869"/>
                    <a:pt x="764" y="800"/>
                  </a:cubicBezTo>
                  <a:cubicBezTo>
                    <a:pt x="782" y="785"/>
                    <a:pt x="797" y="761"/>
                    <a:pt x="797" y="731"/>
                  </a:cubicBezTo>
                  <a:cubicBezTo>
                    <a:pt x="797" y="682"/>
                    <a:pt x="755" y="641"/>
                    <a:pt x="706" y="64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350">
                <a:solidFill>
                  <a:schemeClr val="bg1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719138" y="6450806"/>
              <a:ext cx="153988" cy="187325"/>
            </a:xfrm>
            <a:custGeom>
              <a:avLst/>
              <a:gdLst>
                <a:gd name="T0" fmla="*/ 539 w 735"/>
                <a:gd name="T1" fmla="*/ 303 h 888"/>
                <a:gd name="T2" fmla="*/ 390 w 735"/>
                <a:gd name="T3" fmla="*/ 428 h 888"/>
                <a:gd name="T4" fmla="*/ 194 w 735"/>
                <a:gd name="T5" fmla="*/ 428 h 888"/>
                <a:gd name="T6" fmla="*/ 194 w 735"/>
                <a:gd name="T7" fmla="*/ 175 h 888"/>
                <a:gd name="T8" fmla="*/ 386 w 735"/>
                <a:gd name="T9" fmla="*/ 175 h 888"/>
                <a:gd name="T10" fmla="*/ 539 w 735"/>
                <a:gd name="T11" fmla="*/ 300 h 888"/>
                <a:gd name="T12" fmla="*/ 539 w 735"/>
                <a:gd name="T13" fmla="*/ 303 h 888"/>
                <a:gd name="T14" fmla="*/ 403 w 735"/>
                <a:gd name="T15" fmla="*/ 0 h 888"/>
                <a:gd name="T16" fmla="*/ 97 w 735"/>
                <a:gd name="T17" fmla="*/ 0 h 888"/>
                <a:gd name="T18" fmla="*/ 0 w 735"/>
                <a:gd name="T19" fmla="*/ 97 h 888"/>
                <a:gd name="T20" fmla="*/ 0 w 735"/>
                <a:gd name="T21" fmla="*/ 791 h 888"/>
                <a:gd name="T22" fmla="*/ 97 w 735"/>
                <a:gd name="T23" fmla="*/ 888 h 888"/>
                <a:gd name="T24" fmla="*/ 194 w 735"/>
                <a:gd name="T25" fmla="*/ 791 h 888"/>
                <a:gd name="T26" fmla="*/ 194 w 735"/>
                <a:gd name="T27" fmla="*/ 599 h 888"/>
                <a:gd name="T28" fmla="*/ 349 w 735"/>
                <a:gd name="T29" fmla="*/ 599 h 888"/>
                <a:gd name="T30" fmla="*/ 537 w 735"/>
                <a:gd name="T31" fmla="*/ 838 h 888"/>
                <a:gd name="T32" fmla="*/ 633 w 735"/>
                <a:gd name="T33" fmla="*/ 888 h 888"/>
                <a:gd name="T34" fmla="*/ 725 w 735"/>
                <a:gd name="T35" fmla="*/ 799 h 888"/>
                <a:gd name="T36" fmla="*/ 693 w 735"/>
                <a:gd name="T37" fmla="*/ 724 h 888"/>
                <a:gd name="T38" fmla="*/ 559 w 735"/>
                <a:gd name="T39" fmla="*/ 561 h 888"/>
                <a:gd name="T40" fmla="*/ 735 w 735"/>
                <a:gd name="T41" fmla="*/ 293 h 888"/>
                <a:gd name="T42" fmla="*/ 735 w 735"/>
                <a:gd name="T43" fmla="*/ 290 h 888"/>
                <a:gd name="T44" fmla="*/ 659 w 735"/>
                <a:gd name="T45" fmla="*/ 89 h 888"/>
                <a:gd name="T46" fmla="*/ 403 w 735"/>
                <a:gd name="T47" fmla="*/ 0 h 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35" h="888">
                  <a:moveTo>
                    <a:pt x="539" y="303"/>
                  </a:moveTo>
                  <a:cubicBezTo>
                    <a:pt x="539" y="377"/>
                    <a:pt x="484" y="428"/>
                    <a:pt x="390" y="428"/>
                  </a:cubicBezTo>
                  <a:cubicBezTo>
                    <a:pt x="194" y="428"/>
                    <a:pt x="194" y="428"/>
                    <a:pt x="194" y="428"/>
                  </a:cubicBezTo>
                  <a:cubicBezTo>
                    <a:pt x="194" y="175"/>
                    <a:pt x="194" y="175"/>
                    <a:pt x="194" y="175"/>
                  </a:cubicBezTo>
                  <a:cubicBezTo>
                    <a:pt x="386" y="175"/>
                    <a:pt x="386" y="175"/>
                    <a:pt x="386" y="175"/>
                  </a:cubicBezTo>
                  <a:cubicBezTo>
                    <a:pt x="481" y="175"/>
                    <a:pt x="539" y="218"/>
                    <a:pt x="539" y="300"/>
                  </a:cubicBezTo>
                  <a:lnTo>
                    <a:pt x="539" y="303"/>
                  </a:lnTo>
                  <a:close/>
                  <a:moveTo>
                    <a:pt x="403" y="0"/>
                  </a:moveTo>
                  <a:cubicBezTo>
                    <a:pt x="97" y="0"/>
                    <a:pt x="97" y="0"/>
                    <a:pt x="97" y="0"/>
                  </a:cubicBezTo>
                  <a:cubicBezTo>
                    <a:pt x="43" y="0"/>
                    <a:pt x="0" y="43"/>
                    <a:pt x="0" y="97"/>
                  </a:cubicBezTo>
                  <a:cubicBezTo>
                    <a:pt x="0" y="791"/>
                    <a:pt x="0" y="791"/>
                    <a:pt x="0" y="791"/>
                  </a:cubicBezTo>
                  <a:cubicBezTo>
                    <a:pt x="0" y="845"/>
                    <a:pt x="43" y="888"/>
                    <a:pt x="97" y="888"/>
                  </a:cubicBezTo>
                  <a:cubicBezTo>
                    <a:pt x="151" y="888"/>
                    <a:pt x="194" y="845"/>
                    <a:pt x="194" y="791"/>
                  </a:cubicBezTo>
                  <a:cubicBezTo>
                    <a:pt x="194" y="599"/>
                    <a:pt x="194" y="599"/>
                    <a:pt x="194" y="599"/>
                  </a:cubicBezTo>
                  <a:cubicBezTo>
                    <a:pt x="349" y="599"/>
                    <a:pt x="349" y="599"/>
                    <a:pt x="349" y="599"/>
                  </a:cubicBezTo>
                  <a:cubicBezTo>
                    <a:pt x="537" y="838"/>
                    <a:pt x="537" y="838"/>
                    <a:pt x="537" y="838"/>
                  </a:cubicBezTo>
                  <a:cubicBezTo>
                    <a:pt x="560" y="866"/>
                    <a:pt x="589" y="888"/>
                    <a:pt x="633" y="888"/>
                  </a:cubicBezTo>
                  <a:cubicBezTo>
                    <a:pt x="679" y="888"/>
                    <a:pt x="725" y="853"/>
                    <a:pt x="725" y="799"/>
                  </a:cubicBezTo>
                  <a:cubicBezTo>
                    <a:pt x="725" y="768"/>
                    <a:pt x="712" y="748"/>
                    <a:pt x="693" y="724"/>
                  </a:cubicBezTo>
                  <a:cubicBezTo>
                    <a:pt x="559" y="561"/>
                    <a:pt x="559" y="561"/>
                    <a:pt x="559" y="561"/>
                  </a:cubicBezTo>
                  <a:cubicBezTo>
                    <a:pt x="666" y="517"/>
                    <a:pt x="735" y="431"/>
                    <a:pt x="735" y="293"/>
                  </a:cubicBezTo>
                  <a:cubicBezTo>
                    <a:pt x="735" y="290"/>
                    <a:pt x="735" y="290"/>
                    <a:pt x="735" y="290"/>
                  </a:cubicBezTo>
                  <a:cubicBezTo>
                    <a:pt x="735" y="207"/>
                    <a:pt x="708" y="138"/>
                    <a:pt x="659" y="89"/>
                  </a:cubicBezTo>
                  <a:cubicBezTo>
                    <a:pt x="601" y="31"/>
                    <a:pt x="515" y="0"/>
                    <a:pt x="403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350">
                <a:solidFill>
                  <a:schemeClr val="bg1"/>
                </a:solidFill>
              </a:endParaRPr>
            </a:p>
          </p:txBody>
        </p:sp>
        <p:sp>
          <p:nvSpPr>
            <p:cNvPr id="15" name="Freeform 10"/>
            <p:cNvSpPr>
              <a:spLocks noEditPoints="1"/>
            </p:cNvSpPr>
            <p:nvPr userDrawn="1"/>
          </p:nvSpPr>
          <p:spPr bwMode="auto">
            <a:xfrm>
              <a:off x="896938" y="6447631"/>
              <a:ext cx="182563" cy="190500"/>
            </a:xfrm>
            <a:custGeom>
              <a:avLst/>
              <a:gdLst>
                <a:gd name="T0" fmla="*/ 312 w 871"/>
                <a:gd name="T1" fmla="*/ 526 h 902"/>
                <a:gd name="T2" fmla="*/ 434 w 871"/>
                <a:gd name="T3" fmla="*/ 235 h 902"/>
                <a:gd name="T4" fmla="*/ 556 w 871"/>
                <a:gd name="T5" fmla="*/ 526 h 902"/>
                <a:gd name="T6" fmla="*/ 312 w 871"/>
                <a:gd name="T7" fmla="*/ 526 h 902"/>
                <a:gd name="T8" fmla="*/ 861 w 871"/>
                <a:gd name="T9" fmla="*/ 770 h 902"/>
                <a:gd name="T10" fmla="*/ 554 w 871"/>
                <a:gd name="T11" fmla="*/ 77 h 902"/>
                <a:gd name="T12" fmla="*/ 442 w 871"/>
                <a:gd name="T13" fmla="*/ 0 h 902"/>
                <a:gd name="T14" fmla="*/ 431 w 871"/>
                <a:gd name="T15" fmla="*/ 0 h 902"/>
                <a:gd name="T16" fmla="*/ 318 w 871"/>
                <a:gd name="T17" fmla="*/ 77 h 902"/>
                <a:gd name="T18" fmla="*/ 11 w 871"/>
                <a:gd name="T19" fmla="*/ 770 h 902"/>
                <a:gd name="T20" fmla="*/ 0 w 871"/>
                <a:gd name="T21" fmla="*/ 811 h 902"/>
                <a:gd name="T22" fmla="*/ 89 w 871"/>
                <a:gd name="T23" fmla="*/ 902 h 902"/>
                <a:gd name="T24" fmla="*/ 178 w 871"/>
                <a:gd name="T25" fmla="*/ 841 h 902"/>
                <a:gd name="T26" fmla="*/ 240 w 871"/>
                <a:gd name="T27" fmla="*/ 697 h 902"/>
                <a:gd name="T28" fmla="*/ 627 w 871"/>
                <a:gd name="T29" fmla="*/ 697 h 902"/>
                <a:gd name="T30" fmla="*/ 686 w 871"/>
                <a:gd name="T31" fmla="*/ 835 h 902"/>
                <a:gd name="T32" fmla="*/ 779 w 871"/>
                <a:gd name="T33" fmla="*/ 902 h 902"/>
                <a:gd name="T34" fmla="*/ 871 w 871"/>
                <a:gd name="T35" fmla="*/ 809 h 902"/>
                <a:gd name="T36" fmla="*/ 861 w 871"/>
                <a:gd name="T37" fmla="*/ 77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1" h="902">
                  <a:moveTo>
                    <a:pt x="312" y="526"/>
                  </a:moveTo>
                  <a:cubicBezTo>
                    <a:pt x="434" y="235"/>
                    <a:pt x="434" y="235"/>
                    <a:pt x="434" y="235"/>
                  </a:cubicBezTo>
                  <a:cubicBezTo>
                    <a:pt x="556" y="526"/>
                    <a:pt x="556" y="526"/>
                    <a:pt x="556" y="526"/>
                  </a:cubicBezTo>
                  <a:lnTo>
                    <a:pt x="312" y="526"/>
                  </a:lnTo>
                  <a:close/>
                  <a:moveTo>
                    <a:pt x="861" y="770"/>
                  </a:moveTo>
                  <a:cubicBezTo>
                    <a:pt x="554" y="77"/>
                    <a:pt x="554" y="77"/>
                    <a:pt x="554" y="77"/>
                  </a:cubicBezTo>
                  <a:cubicBezTo>
                    <a:pt x="533" y="29"/>
                    <a:pt x="495" y="0"/>
                    <a:pt x="442" y="0"/>
                  </a:cubicBezTo>
                  <a:cubicBezTo>
                    <a:pt x="431" y="0"/>
                    <a:pt x="431" y="0"/>
                    <a:pt x="431" y="0"/>
                  </a:cubicBezTo>
                  <a:cubicBezTo>
                    <a:pt x="378" y="0"/>
                    <a:pt x="339" y="29"/>
                    <a:pt x="318" y="77"/>
                  </a:cubicBezTo>
                  <a:cubicBezTo>
                    <a:pt x="11" y="770"/>
                    <a:pt x="11" y="770"/>
                    <a:pt x="11" y="770"/>
                  </a:cubicBezTo>
                  <a:cubicBezTo>
                    <a:pt x="5" y="784"/>
                    <a:pt x="0" y="797"/>
                    <a:pt x="0" y="811"/>
                  </a:cubicBezTo>
                  <a:cubicBezTo>
                    <a:pt x="0" y="862"/>
                    <a:pt x="39" y="902"/>
                    <a:pt x="89" y="902"/>
                  </a:cubicBezTo>
                  <a:cubicBezTo>
                    <a:pt x="129" y="902"/>
                    <a:pt x="162" y="879"/>
                    <a:pt x="178" y="841"/>
                  </a:cubicBezTo>
                  <a:cubicBezTo>
                    <a:pt x="240" y="697"/>
                    <a:pt x="240" y="697"/>
                    <a:pt x="240" y="697"/>
                  </a:cubicBezTo>
                  <a:cubicBezTo>
                    <a:pt x="627" y="697"/>
                    <a:pt x="627" y="697"/>
                    <a:pt x="627" y="697"/>
                  </a:cubicBezTo>
                  <a:cubicBezTo>
                    <a:pt x="686" y="835"/>
                    <a:pt x="686" y="835"/>
                    <a:pt x="686" y="835"/>
                  </a:cubicBezTo>
                  <a:cubicBezTo>
                    <a:pt x="704" y="875"/>
                    <a:pt x="734" y="902"/>
                    <a:pt x="779" y="902"/>
                  </a:cubicBezTo>
                  <a:cubicBezTo>
                    <a:pt x="831" y="902"/>
                    <a:pt x="871" y="860"/>
                    <a:pt x="871" y="809"/>
                  </a:cubicBezTo>
                  <a:cubicBezTo>
                    <a:pt x="871" y="796"/>
                    <a:pt x="867" y="784"/>
                    <a:pt x="861" y="77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sz="1350">
                <a:solidFill>
                  <a:schemeClr val="bg1"/>
                </a:solidFill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3372485" y="4809043"/>
            <a:ext cx="2400222" cy="2077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0" rIns="0" rtlCol="0">
            <a:spAutoFit/>
          </a:bodyPr>
          <a:lstStyle/>
          <a:p>
            <a:pPr algn="ctr"/>
            <a:r>
              <a:rPr lang="en-US" sz="750" b="0" i="0" spc="277" dirty="0">
                <a:solidFill>
                  <a:schemeClr val="bg1">
                    <a:lumMod val="65000"/>
                  </a:schemeClr>
                </a:solidFill>
                <a:latin typeface="Arial"/>
                <a:cs typeface="Arial"/>
              </a:rPr>
              <a:t>ČESKÉ RADIOKOMUNIKACE</a:t>
            </a:r>
          </a:p>
        </p:txBody>
      </p:sp>
    </p:spTree>
    <p:extLst>
      <p:ext uri="{BB962C8B-B14F-4D97-AF65-F5344CB8AC3E}">
        <p14:creationId xmlns:p14="http://schemas.microsoft.com/office/powerpoint/2010/main" val="3181065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342434" rtl="0" eaLnBrk="1" latinLnBrk="0" hangingPunct="1">
        <a:spcBef>
          <a:spcPct val="0"/>
        </a:spcBef>
        <a:buNone/>
        <a:defRPr sz="2099" b="1" i="0" kern="1200">
          <a:solidFill>
            <a:schemeClr val="accent3"/>
          </a:solidFill>
          <a:latin typeface="Arial"/>
          <a:ea typeface="+mj-ea"/>
          <a:cs typeface="+mj-cs"/>
        </a:defRPr>
      </a:lvl1pPr>
    </p:titleStyle>
    <p:bodyStyle>
      <a:lvl1pPr marL="256826" indent="-256826" algn="l" defTabSz="342434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11"/>
        </a:buBlip>
        <a:defRPr sz="1500" kern="1200" baseline="0">
          <a:solidFill>
            <a:schemeClr val="accent3"/>
          </a:solidFill>
          <a:latin typeface="Arial"/>
          <a:ea typeface="+mn-ea"/>
          <a:cs typeface="+mn-cs"/>
        </a:defRPr>
      </a:lvl1pPr>
      <a:lvl2pPr marL="556456" indent="-214021" algn="l" defTabSz="342434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11"/>
        </a:buBlip>
        <a:defRPr sz="1200" kern="1200" baseline="0">
          <a:solidFill>
            <a:schemeClr val="accent3"/>
          </a:solidFill>
          <a:latin typeface="Arial"/>
          <a:ea typeface="+mn-ea"/>
          <a:cs typeface="+mn-cs"/>
        </a:defRPr>
      </a:lvl2pPr>
      <a:lvl3pPr marL="856085" indent="-171217" algn="l" defTabSz="342434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11"/>
        </a:buBlip>
        <a:defRPr sz="975" kern="1200" baseline="0">
          <a:solidFill>
            <a:schemeClr val="accent3"/>
          </a:solidFill>
          <a:latin typeface="Arial"/>
          <a:ea typeface="+mn-ea"/>
          <a:cs typeface="+mn-cs"/>
        </a:defRPr>
      </a:lvl3pPr>
      <a:lvl4pPr marL="1198520" indent="-171217" algn="l" defTabSz="342434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11"/>
        </a:buBlip>
        <a:defRPr sz="900" kern="1200" baseline="0">
          <a:solidFill>
            <a:schemeClr val="accent3"/>
          </a:solidFill>
          <a:latin typeface="Arial"/>
          <a:ea typeface="+mn-ea"/>
          <a:cs typeface="+mn-cs"/>
        </a:defRPr>
      </a:lvl4pPr>
      <a:lvl5pPr marL="1540954" indent="-171217" algn="l" defTabSz="342434" rtl="0" eaLnBrk="1" latinLnBrk="0" hangingPunct="1">
        <a:spcBef>
          <a:spcPct val="20000"/>
        </a:spcBef>
        <a:buClr>
          <a:schemeClr val="accent6"/>
        </a:buClr>
        <a:buSzPct val="100000"/>
        <a:buFontTx/>
        <a:buBlip>
          <a:blip r:embed="rId11"/>
        </a:buBlip>
        <a:defRPr sz="675" kern="1200" baseline="0">
          <a:solidFill>
            <a:schemeClr val="accent3"/>
          </a:solidFill>
          <a:latin typeface="Arial"/>
          <a:ea typeface="+mn-ea"/>
          <a:cs typeface="+mn-cs"/>
        </a:defRPr>
      </a:lvl5pPr>
      <a:lvl6pPr marL="1883387" indent="-171217" algn="l" defTabSz="342434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5823" indent="-171217" algn="l" defTabSz="342434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68257" indent="-171217" algn="l" defTabSz="342434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0690" indent="-171217" algn="l" defTabSz="342434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434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1pPr>
      <a:lvl2pPr marL="342434" algn="l" defTabSz="342434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2pPr>
      <a:lvl3pPr marL="684869" algn="l" defTabSz="342434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7302" algn="l" defTabSz="342434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4pPr>
      <a:lvl5pPr marL="1369736" algn="l" defTabSz="342434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5pPr>
      <a:lvl6pPr marL="1712171" algn="l" defTabSz="342434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6pPr>
      <a:lvl7pPr marL="2054606" algn="l" defTabSz="342434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7pPr>
      <a:lvl8pPr marL="2397039" algn="l" defTabSz="342434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8pPr>
      <a:lvl9pPr marL="2739474" algn="l" defTabSz="342434" rtl="0" eaLnBrk="1" latinLnBrk="0" hangingPunct="1">
        <a:defRPr sz="12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9.mp4"/><Relationship Id="rId1" Type="http://schemas.microsoft.com/office/2007/relationships/media" Target="../media/media9.mp4"/><Relationship Id="rId4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2" Type="http://schemas.openxmlformats.org/officeDocument/2006/relationships/tags" Target="../tags/tag1.xml"/><Relationship Id="rId16" Type="http://schemas.openxmlformats.org/officeDocument/2006/relationships/image" Target="../media/image44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34.emf"/><Relationship Id="rId11" Type="http://schemas.openxmlformats.org/officeDocument/2006/relationships/image" Target="../media/image39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43.png"/><Relationship Id="rId10" Type="http://schemas.openxmlformats.org/officeDocument/2006/relationships/image" Target="../media/image38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9.mp4"/><Relationship Id="rId1" Type="http://schemas.microsoft.com/office/2007/relationships/media" Target="../media/media9.mp4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6.jpg"/><Relationship Id="rId4" Type="http://schemas.openxmlformats.org/officeDocument/2006/relationships/image" Target="../media/image25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8.jpg"/><Relationship Id="rId4" Type="http://schemas.openxmlformats.org/officeDocument/2006/relationships/image" Target="../media/image27.jp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01 antenaNSK">
            <a:hlinkClick r:id="" action="ppaction://media"/>
            <a:extLst>
              <a:ext uri="{FF2B5EF4-FFF2-40B4-BE49-F238E27FC236}">
                <a16:creationId xmlns:a16="http://schemas.microsoft.com/office/drawing/2014/main" id="{002D5F5F-7D37-4158-8E6C-A9245696D4A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422845" y="597102"/>
            <a:ext cx="4298315" cy="3454003"/>
          </a:xfrm>
          <a:prstGeom prst="rect">
            <a:avLst/>
          </a:prstGeom>
        </p:spPr>
      </p:pic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834B986D-975A-4AED-B250-03800AFD6491}"/>
              </a:ext>
            </a:extLst>
          </p:cNvPr>
          <p:cNvSpPr>
            <a:spLocks/>
          </p:cNvSpPr>
          <p:nvPr/>
        </p:nvSpPr>
        <p:spPr bwMode="auto">
          <a:xfrm>
            <a:off x="0" y="0"/>
            <a:ext cx="9144000" cy="5143500"/>
          </a:xfrm>
          <a:custGeom>
            <a:avLst/>
            <a:gdLst>
              <a:gd name="connsiteX0" fmla="*/ 4659369 w 12192000"/>
              <a:gd name="connsiteY0" fmla="*/ 1696842 h 6858000"/>
              <a:gd name="connsiteX1" fmla="*/ 4544634 w 12192000"/>
              <a:gd name="connsiteY1" fmla="*/ 1722571 h 6858000"/>
              <a:gd name="connsiteX2" fmla="*/ 4394567 w 12192000"/>
              <a:gd name="connsiteY2" fmla="*/ 2113735 h 6858000"/>
              <a:gd name="connsiteX3" fmla="*/ 5663311 w 12192000"/>
              <a:gd name="connsiteY3" fmla="*/ 4983406 h 6858000"/>
              <a:gd name="connsiteX4" fmla="*/ 6052120 w 12192000"/>
              <a:gd name="connsiteY4" fmla="*/ 5135430 h 6858000"/>
              <a:gd name="connsiteX5" fmla="*/ 6203891 w 12192000"/>
              <a:gd name="connsiteY5" fmla="*/ 4744266 h 6858000"/>
              <a:gd name="connsiteX6" fmla="*/ 6097646 w 12192000"/>
              <a:gd name="connsiteY6" fmla="*/ 4503959 h 6858000"/>
              <a:gd name="connsiteX7" fmla="*/ 6096894 w 12192000"/>
              <a:gd name="connsiteY7" fmla="*/ 4502257 h 6858000"/>
              <a:gd name="connsiteX8" fmla="*/ 6502729 w 12192000"/>
              <a:gd name="connsiteY8" fmla="*/ 4111368 h 6858000"/>
              <a:gd name="connsiteX9" fmla="*/ 6524637 w 12192000"/>
              <a:gd name="connsiteY9" fmla="*/ 4149686 h 6858000"/>
              <a:gd name="connsiteX10" fmla="*/ 6885665 w 12192000"/>
              <a:gd name="connsiteY10" fmla="*/ 4247156 h 6858000"/>
              <a:gd name="connsiteX11" fmla="*/ 7036033 w 12192000"/>
              <a:gd name="connsiteY11" fmla="*/ 3857450 h 6858000"/>
              <a:gd name="connsiteX12" fmla="*/ 6666228 w 12192000"/>
              <a:gd name="connsiteY12" fmla="*/ 3020993 h 6858000"/>
              <a:gd name="connsiteX13" fmla="*/ 6633426 w 12192000"/>
              <a:gd name="connsiteY13" fmla="*/ 2946799 h 6858000"/>
              <a:gd name="connsiteX14" fmla="*/ 7108042 w 12192000"/>
              <a:gd name="connsiteY14" fmla="*/ 2741899 h 6858000"/>
              <a:gd name="connsiteX15" fmla="*/ 7254593 w 12192000"/>
              <a:gd name="connsiteY15" fmla="*/ 3074711 h 6858000"/>
              <a:gd name="connsiteX16" fmla="*/ 7646556 w 12192000"/>
              <a:gd name="connsiteY16" fmla="*/ 3225315 h 6858000"/>
              <a:gd name="connsiteX17" fmla="*/ 7797180 w 12192000"/>
              <a:gd name="connsiteY17" fmla="*/ 2835114 h 6858000"/>
              <a:gd name="connsiteX18" fmla="*/ 7372695 w 12192000"/>
              <a:gd name="connsiteY18" fmla="*/ 1873303 h 6858000"/>
              <a:gd name="connsiteX19" fmla="*/ 7097577 w 12192000"/>
              <a:gd name="connsiteY19" fmla="*/ 1696894 h 6858000"/>
              <a:gd name="connsiteX20" fmla="*/ 6982443 w 12192000"/>
              <a:gd name="connsiteY20" fmla="*/ 1722699 h 6858000"/>
              <a:gd name="connsiteX21" fmla="*/ 6831820 w 12192000"/>
              <a:gd name="connsiteY21" fmla="*/ 2114611 h 6858000"/>
              <a:gd name="connsiteX22" fmla="*/ 7091713 w 12192000"/>
              <a:gd name="connsiteY22" fmla="*/ 2704818 h 6858000"/>
              <a:gd name="connsiteX23" fmla="*/ 6418772 w 12192000"/>
              <a:gd name="connsiteY23" fmla="*/ 2461276 h 6858000"/>
              <a:gd name="connsiteX24" fmla="*/ 6383604 w 12192000"/>
              <a:gd name="connsiteY24" fmla="*/ 2381730 h 6858000"/>
              <a:gd name="connsiteX25" fmla="*/ 6159457 w 12192000"/>
              <a:gd name="connsiteY25" fmla="*/ 1874736 h 6858000"/>
              <a:gd name="connsiteX26" fmla="*/ 5884085 w 12192000"/>
              <a:gd name="connsiteY26" fmla="*/ 1696869 h 6858000"/>
              <a:gd name="connsiteX27" fmla="*/ 5768158 w 12192000"/>
              <a:gd name="connsiteY27" fmla="*/ 1722614 h 6858000"/>
              <a:gd name="connsiteX28" fmla="*/ 5617791 w 12192000"/>
              <a:gd name="connsiteY28" fmla="*/ 2114029 h 6858000"/>
              <a:gd name="connsiteX29" fmla="*/ 6390747 w 12192000"/>
              <a:gd name="connsiteY29" fmla="*/ 3862366 h 6858000"/>
              <a:gd name="connsiteX30" fmla="*/ 5930539 w 12192000"/>
              <a:gd name="connsiteY30" fmla="*/ 4125992 h 6858000"/>
              <a:gd name="connsiteX31" fmla="*/ 5894140 w 12192000"/>
              <a:gd name="connsiteY31" fmla="*/ 4043663 h 6858000"/>
              <a:gd name="connsiteX32" fmla="*/ 4935149 w 12192000"/>
              <a:gd name="connsiteY32" fmla="*/ 1874596 h 6858000"/>
              <a:gd name="connsiteX33" fmla="*/ 4659369 w 12192000"/>
              <a:gd name="connsiteY33" fmla="*/ 1696842 h 6858000"/>
              <a:gd name="connsiteX34" fmla="*/ 0 w 12192000"/>
              <a:gd name="connsiteY34" fmla="*/ 0 h 6858000"/>
              <a:gd name="connsiteX35" fmla="*/ 12192000 w 12192000"/>
              <a:gd name="connsiteY35" fmla="*/ 0 h 6858000"/>
              <a:gd name="connsiteX36" fmla="*/ 12192000 w 12192000"/>
              <a:gd name="connsiteY36" fmla="*/ 6858000 h 6858000"/>
              <a:gd name="connsiteX37" fmla="*/ 0 w 12192000"/>
              <a:gd name="connsiteY3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2192000" h="6858000">
                <a:moveTo>
                  <a:pt x="4659369" y="1696842"/>
                </a:moveTo>
                <a:cubicBezTo>
                  <a:pt x="4621053" y="1697590"/>
                  <a:pt x="4582152" y="1705917"/>
                  <a:pt x="4544634" y="1722571"/>
                </a:cubicBezTo>
                <a:cubicBezTo>
                  <a:pt x="4392862" y="1790897"/>
                  <a:pt x="4326355" y="1961711"/>
                  <a:pt x="4394567" y="2113735"/>
                </a:cubicBezTo>
                <a:lnTo>
                  <a:pt x="5663311" y="4983406"/>
                </a:lnTo>
                <a:cubicBezTo>
                  <a:pt x="5729818" y="5135430"/>
                  <a:pt x="5902054" y="5202047"/>
                  <a:pt x="6052120" y="5135430"/>
                </a:cubicBezTo>
                <a:cubicBezTo>
                  <a:pt x="6203891" y="5067104"/>
                  <a:pt x="6270398" y="4894582"/>
                  <a:pt x="6203891" y="4744266"/>
                </a:cubicBezTo>
                <a:cubicBezTo>
                  <a:pt x="6203891" y="4744266"/>
                  <a:pt x="6203891" y="4744266"/>
                  <a:pt x="6097646" y="4503959"/>
                </a:cubicBezTo>
                <a:lnTo>
                  <a:pt x="6096894" y="4502257"/>
                </a:lnTo>
                <a:lnTo>
                  <a:pt x="6502729" y="4111368"/>
                </a:lnTo>
                <a:lnTo>
                  <a:pt x="6524637" y="4149686"/>
                </a:lnTo>
                <a:cubicBezTo>
                  <a:pt x="6605514" y="4263420"/>
                  <a:pt x="6754093" y="4306979"/>
                  <a:pt x="6885665" y="4247156"/>
                </a:cubicBezTo>
                <a:cubicBezTo>
                  <a:pt x="7037742" y="4180495"/>
                  <a:pt x="7104382" y="4007863"/>
                  <a:pt x="7036033" y="3857450"/>
                </a:cubicBezTo>
                <a:cubicBezTo>
                  <a:pt x="7036033" y="3857450"/>
                  <a:pt x="7036033" y="3857450"/>
                  <a:pt x="6666228" y="3020993"/>
                </a:cubicBezTo>
                <a:lnTo>
                  <a:pt x="6633426" y="2946799"/>
                </a:lnTo>
                <a:lnTo>
                  <a:pt x="7108042" y="2741899"/>
                </a:lnTo>
                <a:lnTo>
                  <a:pt x="7254593" y="3074711"/>
                </a:lnTo>
                <a:cubicBezTo>
                  <a:pt x="7323058" y="3227026"/>
                  <a:pt x="7495933" y="3293771"/>
                  <a:pt x="7646556" y="3225315"/>
                </a:cubicBezTo>
                <a:cubicBezTo>
                  <a:pt x="7797180" y="3158570"/>
                  <a:pt x="7865645" y="2985718"/>
                  <a:pt x="7797180" y="2835114"/>
                </a:cubicBezTo>
                <a:cubicBezTo>
                  <a:pt x="7797180" y="2835114"/>
                  <a:pt x="7797180" y="2835114"/>
                  <a:pt x="7372695" y="1873303"/>
                </a:cubicBezTo>
                <a:cubicBezTo>
                  <a:pt x="7322630" y="1760350"/>
                  <a:pt x="7212872" y="1694568"/>
                  <a:pt x="7097577" y="1696894"/>
                </a:cubicBezTo>
                <a:cubicBezTo>
                  <a:pt x="7059146" y="1697670"/>
                  <a:pt x="7020099" y="1706013"/>
                  <a:pt x="6982443" y="1722699"/>
                </a:cubicBezTo>
                <a:cubicBezTo>
                  <a:pt x="6830108" y="1789444"/>
                  <a:pt x="6763354" y="1962296"/>
                  <a:pt x="6831820" y="2114611"/>
                </a:cubicBezTo>
                <a:lnTo>
                  <a:pt x="7091713" y="2704818"/>
                </a:lnTo>
                <a:lnTo>
                  <a:pt x="6418772" y="2461276"/>
                </a:lnTo>
                <a:lnTo>
                  <a:pt x="6383604" y="2381730"/>
                </a:lnTo>
                <a:cubicBezTo>
                  <a:pt x="6316111" y="2229069"/>
                  <a:pt x="6241636" y="2060616"/>
                  <a:pt x="6159457" y="1874736"/>
                </a:cubicBezTo>
                <a:cubicBezTo>
                  <a:pt x="6109476" y="1760645"/>
                  <a:pt x="5999904" y="1694625"/>
                  <a:pt x="5884085" y="1696869"/>
                </a:cubicBezTo>
                <a:cubicBezTo>
                  <a:pt x="5845478" y="1697617"/>
                  <a:pt x="5806177" y="1705949"/>
                  <a:pt x="5768158" y="1722614"/>
                </a:cubicBezTo>
                <a:cubicBezTo>
                  <a:pt x="5617791" y="1790984"/>
                  <a:pt x="5551151" y="1961907"/>
                  <a:pt x="5617791" y="2114029"/>
                </a:cubicBezTo>
                <a:lnTo>
                  <a:pt x="6390747" y="3862366"/>
                </a:lnTo>
                <a:lnTo>
                  <a:pt x="5930539" y="4125992"/>
                </a:lnTo>
                <a:lnTo>
                  <a:pt x="5894140" y="4043663"/>
                </a:lnTo>
                <a:cubicBezTo>
                  <a:pt x="5708289" y="3623301"/>
                  <a:pt x="5410927" y="2950722"/>
                  <a:pt x="4935149" y="1874596"/>
                </a:cubicBezTo>
                <a:cubicBezTo>
                  <a:pt x="4883989" y="1760577"/>
                  <a:pt x="4774317" y="1694601"/>
                  <a:pt x="4659369" y="1696842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pPr defTabSz="514345">
              <a:defRPr/>
            </a:pPr>
            <a:endParaRPr lang="cs-CZ" sz="1050" kern="0" dirty="0">
              <a:solidFill>
                <a:prstClr val="black"/>
              </a:solidFill>
              <a:latin typeface="Gotham Rounded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715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6400"/>
    </mc:Choice>
    <mc:Fallback xmlns="">
      <p:transition spd="slow" advClick="0" advTm="64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12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3" name="Tabulka 82">
            <a:extLst>
              <a:ext uri="{FF2B5EF4-FFF2-40B4-BE49-F238E27FC236}">
                <a16:creationId xmlns:a16="http://schemas.microsoft.com/office/drawing/2014/main" id="{0B5D962D-5541-4AF4-84AF-665BC9599CCA}"/>
              </a:ext>
            </a:extLst>
          </p:cNvPr>
          <p:cNvGraphicFramePr>
            <a:graphicFrameLocks noGrp="1"/>
          </p:cNvGraphicFramePr>
          <p:nvPr/>
        </p:nvGraphicFramePr>
        <p:xfrm>
          <a:off x="540714" y="3692316"/>
          <a:ext cx="1635739" cy="918787"/>
        </p:xfrm>
        <a:graphic>
          <a:graphicData uri="http://schemas.openxmlformats.org/drawingml/2006/table">
            <a:tbl>
              <a:tblPr bandRow="1">
                <a:tableStyleId>{912C8C85-51F0-491E-9774-3900AFEF0FD7}</a:tableStyleId>
              </a:tblPr>
              <a:tblGrid>
                <a:gridCol w="16357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2838">
                <a:tc>
                  <a:txBody>
                    <a:bodyPr/>
                    <a:lstStyle>
                      <a:lvl1pPr marL="0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09706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19413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29119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638824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048531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458238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2867943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277650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CRA </a:t>
                      </a:r>
                      <a:r>
                        <a:rPr lang="cs-CZ" sz="700" b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koncová zařízení</a:t>
                      </a:r>
                      <a:endParaRPr lang="en-GB" sz="700" b="0" noProof="0" dirty="0">
                        <a:solidFill>
                          <a:schemeClr val="bg1">
                            <a:lumMod val="95000"/>
                          </a:schemeClr>
                        </a:solidFill>
                        <a:latin typeface="Gotham Rounded Book" pitchFamily="50" charset="0"/>
                      </a:endParaRPr>
                    </a:p>
                  </a:txBody>
                  <a:tcPr marL="68589" marR="68589" marT="34282" marB="3428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5949">
                <a:tc>
                  <a:txBody>
                    <a:bodyPr/>
                    <a:lstStyle>
                      <a:lvl1pPr marL="0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09706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19413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29119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638824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048531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458238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2867943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277650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700" b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Výběr koncových zařízení  prostřednictvím</a:t>
                      </a:r>
                      <a:r>
                        <a:rPr lang="cs-CZ" sz="700" b="0" baseline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 CRA  partnerských kanálů</a:t>
                      </a:r>
                      <a:r>
                        <a:rPr lang="en-GB" sz="700" b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.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Partners</a:t>
                      </a:r>
                      <a:r>
                        <a:rPr lang="cs-CZ" sz="700" b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tví s flexibilními výrobci</a:t>
                      </a:r>
                      <a:r>
                        <a:rPr lang="cs-CZ" sz="700" b="0" baseline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 HW a čidel</a:t>
                      </a:r>
                      <a:r>
                        <a:rPr lang="en-GB" sz="700" b="0" baseline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.</a:t>
                      </a:r>
                      <a:endParaRPr lang="en-GB" sz="700" b="0" noProof="0" dirty="0">
                        <a:solidFill>
                          <a:schemeClr val="bg1">
                            <a:lumMod val="95000"/>
                          </a:schemeClr>
                        </a:solidFill>
                        <a:latin typeface="Gotham Rounded Book" pitchFamily="50" charset="0"/>
                      </a:endParaRPr>
                    </a:p>
                  </a:txBody>
                  <a:tcPr marL="68589" marR="68589" marT="34282" marB="3428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4" name="Tabulka 83">
            <a:extLst>
              <a:ext uri="{FF2B5EF4-FFF2-40B4-BE49-F238E27FC236}">
                <a16:creationId xmlns:a16="http://schemas.microsoft.com/office/drawing/2014/main" id="{263933D8-A45E-404A-ACBB-7D889116F962}"/>
              </a:ext>
            </a:extLst>
          </p:cNvPr>
          <p:cNvGraphicFramePr>
            <a:graphicFrameLocks noGrp="1"/>
          </p:cNvGraphicFramePr>
          <p:nvPr/>
        </p:nvGraphicFramePr>
        <p:xfrm>
          <a:off x="2623143" y="3692300"/>
          <a:ext cx="1613475" cy="967682"/>
        </p:xfrm>
        <a:graphic>
          <a:graphicData uri="http://schemas.openxmlformats.org/drawingml/2006/table">
            <a:tbl>
              <a:tblPr bandRow="1">
                <a:tableStyleId>{912C8C85-51F0-491E-9774-3900AFEF0FD7}</a:tableStyleId>
              </a:tblPr>
              <a:tblGrid>
                <a:gridCol w="1613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2838">
                <a:tc>
                  <a:txBody>
                    <a:bodyPr/>
                    <a:lstStyle>
                      <a:lvl1pPr marL="0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09706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19413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29119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638824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048531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458238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2867943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277650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CRA IoT </a:t>
                      </a:r>
                      <a:r>
                        <a:rPr lang="cs-CZ" sz="700" b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síť</a:t>
                      </a:r>
                      <a:endParaRPr lang="en-GB" sz="700" b="0" noProof="0" dirty="0">
                        <a:solidFill>
                          <a:schemeClr val="bg1">
                            <a:lumMod val="95000"/>
                          </a:schemeClr>
                        </a:solidFill>
                        <a:latin typeface="Gotham Rounded Book" pitchFamily="50" charset="0"/>
                      </a:endParaRPr>
                    </a:p>
                  </a:txBody>
                  <a:tcPr marL="68589" marR="68589" marT="34282" marB="3428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4844">
                <a:tc>
                  <a:txBody>
                    <a:bodyPr/>
                    <a:lstStyle>
                      <a:lvl1pPr marL="0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09706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19413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29119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638824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048531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458238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2867943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277650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noProof="0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Základní</a:t>
                      </a:r>
                      <a:r>
                        <a:rPr lang="en-GB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 </a:t>
                      </a:r>
                      <a:r>
                        <a:rPr lang="en-GB" sz="700" b="0" kern="1200" noProof="0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komunikační</a:t>
                      </a:r>
                      <a:r>
                        <a:rPr lang="en-GB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 </a:t>
                      </a:r>
                      <a:r>
                        <a:rPr lang="en-GB" sz="700" b="0" kern="1200" noProof="0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služba</a:t>
                      </a:r>
                      <a:r>
                        <a:rPr lang="en-GB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.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Připojení přes </a:t>
                      </a:r>
                      <a:r>
                        <a:rPr lang="cs-CZ" sz="700" b="0" kern="1200" noProof="0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LoRaWAN</a:t>
                      </a:r>
                      <a:r>
                        <a:rPr lang="cs-CZ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 a MQTT</a:t>
                      </a:r>
                      <a:endParaRPr lang="en-GB" sz="700" b="0" kern="1200" noProof="0" dirty="0">
                        <a:solidFill>
                          <a:schemeClr val="bg1">
                            <a:lumMod val="95000"/>
                          </a:schemeClr>
                        </a:solidFill>
                        <a:latin typeface="Gotham Rounded Book" pitchFamily="50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noProof="0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Pronájem</a:t>
                      </a:r>
                      <a:r>
                        <a:rPr lang="en-GB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 a </a:t>
                      </a:r>
                      <a:r>
                        <a:rPr lang="cs-CZ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správa</a:t>
                      </a:r>
                      <a:r>
                        <a:rPr lang="en-GB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 </a:t>
                      </a:r>
                      <a:r>
                        <a:rPr lang="en-GB" sz="700" b="0" kern="1200" noProof="0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sít</a:t>
                      </a:r>
                      <a:r>
                        <a:rPr lang="cs-CZ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ě</a:t>
                      </a:r>
                      <a:r>
                        <a:rPr lang="en-GB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 a </a:t>
                      </a:r>
                      <a:r>
                        <a:rPr lang="cs-CZ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základových stanic</a:t>
                      </a:r>
                      <a:r>
                        <a:rPr lang="cs-CZ" sz="700" b="0" kern="1200" baseline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 </a:t>
                      </a:r>
                      <a:r>
                        <a:rPr lang="en-GB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LoRaWAN.</a:t>
                      </a:r>
                      <a:endParaRPr lang="en-GB" sz="700" b="0" kern="1200" noProof="0" dirty="0">
                        <a:solidFill>
                          <a:schemeClr val="bg1">
                            <a:lumMod val="95000"/>
                          </a:schemeClr>
                        </a:solidFill>
                        <a:latin typeface="Gotham Rounded Book" pitchFamily="50" charset="0"/>
                        <a:ea typeface="+mn-ea"/>
                        <a:cs typeface="+mn-cs"/>
                      </a:endParaRPr>
                    </a:p>
                  </a:txBody>
                  <a:tcPr marL="68589" marR="68589" marT="34282" marB="3428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5" name="Tabulka 84">
            <a:extLst>
              <a:ext uri="{FF2B5EF4-FFF2-40B4-BE49-F238E27FC236}">
                <a16:creationId xmlns:a16="http://schemas.microsoft.com/office/drawing/2014/main" id="{52A6AEAA-F471-4494-A8C3-F80531108158}"/>
              </a:ext>
            </a:extLst>
          </p:cNvPr>
          <p:cNvGraphicFramePr>
            <a:graphicFrameLocks noGrp="1"/>
          </p:cNvGraphicFramePr>
          <p:nvPr/>
        </p:nvGraphicFramePr>
        <p:xfrm>
          <a:off x="4683308" y="3703285"/>
          <a:ext cx="1737993" cy="1036288"/>
        </p:xfrm>
        <a:graphic>
          <a:graphicData uri="http://schemas.openxmlformats.org/drawingml/2006/table">
            <a:tbl>
              <a:tblPr bandRow="1">
                <a:tableStyleId>{912C8C85-51F0-491E-9774-3900AFEF0FD7}</a:tableStyleId>
              </a:tblPr>
              <a:tblGrid>
                <a:gridCol w="17379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3586">
                <a:tc>
                  <a:txBody>
                    <a:bodyPr/>
                    <a:lstStyle>
                      <a:lvl1pPr marL="0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09706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19413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29119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638824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048531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458238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2867943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277650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CRA </a:t>
                      </a:r>
                      <a:r>
                        <a:rPr lang="cs-CZ" sz="700" b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IoT</a:t>
                      </a:r>
                      <a:r>
                        <a:rPr lang="cs-CZ" sz="700" b="0" baseline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 </a:t>
                      </a:r>
                      <a:r>
                        <a:rPr lang="en-GB" sz="700" b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Cloud</a:t>
                      </a:r>
                    </a:p>
                  </a:txBody>
                  <a:tcPr marL="68589" marR="68589" marT="34282" marB="3428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9550">
                <a:tc>
                  <a:txBody>
                    <a:bodyPr/>
                    <a:lstStyle>
                      <a:lvl1pPr marL="0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09706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19413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29119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638824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048531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458238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2867943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277650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IoT Portál pro všechny uživatele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700" b="0" kern="1200" noProof="0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Hosting</a:t>
                      </a:r>
                      <a:r>
                        <a:rPr lang="cs-CZ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 </a:t>
                      </a:r>
                      <a:r>
                        <a:rPr lang="en-GB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IoT </a:t>
                      </a:r>
                      <a:r>
                        <a:rPr lang="cs-CZ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aplikací v CRA DC TOWER</a:t>
                      </a:r>
                      <a:endParaRPr lang="en-GB" sz="700" b="0" kern="1200" noProof="0" dirty="0">
                        <a:solidFill>
                          <a:schemeClr val="bg1">
                            <a:lumMod val="95000"/>
                          </a:schemeClr>
                        </a:solidFill>
                        <a:latin typeface="Gotham Rounded Book" pitchFamily="50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noProof="0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Procesování</a:t>
                      </a:r>
                      <a:r>
                        <a:rPr lang="en-GB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 a </a:t>
                      </a:r>
                      <a:r>
                        <a:rPr lang="en-GB" sz="700" b="0" kern="1200" noProof="0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analýza</a:t>
                      </a:r>
                      <a:r>
                        <a:rPr lang="en-GB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 </a:t>
                      </a:r>
                      <a:r>
                        <a:rPr lang="en-GB" sz="700" b="0" kern="1200" noProof="0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dat</a:t>
                      </a:r>
                      <a:r>
                        <a:rPr lang="cs-CZ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.</a:t>
                      </a:r>
                      <a:endParaRPr lang="en-GB" sz="700" b="0" kern="1200" noProof="0" dirty="0">
                        <a:solidFill>
                          <a:schemeClr val="bg1">
                            <a:lumMod val="95000"/>
                          </a:schemeClr>
                        </a:solidFill>
                        <a:latin typeface="Gotham Rounded Book" pitchFamily="50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Zálohovaná databáze zpráv.</a:t>
                      </a:r>
                      <a:endParaRPr lang="en-GB" sz="700" b="0" kern="1200" noProof="0" dirty="0">
                        <a:solidFill>
                          <a:schemeClr val="bg1">
                            <a:lumMod val="95000"/>
                          </a:schemeClr>
                        </a:solidFill>
                        <a:latin typeface="Gotham Rounded Book" pitchFamily="50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700" b="0" kern="1200" noProof="0" dirty="0">
                        <a:solidFill>
                          <a:schemeClr val="bg1">
                            <a:lumMod val="95000"/>
                          </a:schemeClr>
                        </a:solidFill>
                        <a:latin typeface="Gotham Rounded Book" pitchFamily="50" charset="0"/>
                        <a:ea typeface="+mn-ea"/>
                        <a:cs typeface="+mn-cs"/>
                      </a:endParaRPr>
                    </a:p>
                  </a:txBody>
                  <a:tcPr marL="68589" marR="68589" marT="34282" marB="3428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6" name="Tabulka 85">
            <a:extLst>
              <a:ext uri="{FF2B5EF4-FFF2-40B4-BE49-F238E27FC236}">
                <a16:creationId xmlns:a16="http://schemas.microsoft.com/office/drawing/2014/main" id="{0F18EEFD-E6EC-49DF-8BF0-550C8877F339}"/>
              </a:ext>
            </a:extLst>
          </p:cNvPr>
          <p:cNvGraphicFramePr>
            <a:graphicFrameLocks noGrp="1"/>
          </p:cNvGraphicFramePr>
          <p:nvPr/>
        </p:nvGraphicFramePr>
        <p:xfrm>
          <a:off x="6867991" y="3692299"/>
          <a:ext cx="1695463" cy="921015"/>
        </p:xfrm>
        <a:graphic>
          <a:graphicData uri="http://schemas.openxmlformats.org/drawingml/2006/table">
            <a:tbl>
              <a:tblPr bandRow="1">
                <a:tableStyleId>{912C8C85-51F0-491E-9774-3900AFEF0FD7}</a:tableStyleId>
              </a:tblPr>
              <a:tblGrid>
                <a:gridCol w="16954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2838">
                <a:tc>
                  <a:txBody>
                    <a:bodyPr/>
                    <a:lstStyle>
                      <a:lvl1pPr marL="0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09706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19413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29119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638824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048531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458238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2867943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277650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CRA App</a:t>
                      </a:r>
                    </a:p>
                  </a:txBody>
                  <a:tcPr marL="68589" marR="68589" marT="34282" marB="3428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8177">
                <a:tc>
                  <a:txBody>
                    <a:bodyPr/>
                    <a:lstStyle>
                      <a:lvl1pPr marL="0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09706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819413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229119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638824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048531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458238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2867943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277650" algn="l" defTabSz="409706" rtl="0" eaLnBrk="1" latinLnBrk="0" hangingPunct="1">
                        <a:defRPr sz="1500" kern="1200">
                          <a:solidFill>
                            <a:schemeClr val="dk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Konektory na renomované IoT Platformy (AWS, Azure atd.)</a:t>
                      </a:r>
                      <a:endParaRPr lang="en-GB" sz="700" b="0" kern="1200" noProof="0" dirty="0">
                        <a:solidFill>
                          <a:schemeClr val="bg1">
                            <a:lumMod val="95000"/>
                          </a:schemeClr>
                        </a:solidFill>
                        <a:latin typeface="Gotham Rounded Book" pitchFamily="50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700" b="0" kern="1200" noProof="0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Dodávka</a:t>
                      </a:r>
                      <a:r>
                        <a:rPr lang="en-GB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 </a:t>
                      </a:r>
                      <a:r>
                        <a:rPr lang="en-GB" sz="700" b="0" kern="1200" noProof="0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integrovaných</a:t>
                      </a:r>
                      <a:r>
                        <a:rPr lang="en-GB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 </a:t>
                      </a:r>
                      <a:r>
                        <a:rPr lang="en-GB" sz="700" b="0" kern="1200" noProof="0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řešení</a:t>
                      </a:r>
                      <a:r>
                        <a:rPr lang="en-GB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 pro </a:t>
                      </a:r>
                      <a:r>
                        <a:rPr lang="en-GB" sz="700" b="0" kern="1200" noProof="0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vybrané</a:t>
                      </a:r>
                      <a:r>
                        <a:rPr lang="en-GB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 </a:t>
                      </a:r>
                      <a:r>
                        <a:rPr lang="en-GB" sz="700" b="0" kern="1200" noProof="0" dirty="0" err="1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vertikály</a:t>
                      </a:r>
                      <a:r>
                        <a:rPr lang="cs-CZ" sz="700" b="0" kern="1200" noProof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Gotham Rounded Book" pitchFamily="50" charset="0"/>
                        </a:rPr>
                        <a:t>.</a:t>
                      </a:r>
                      <a:endParaRPr lang="en-GB" sz="700" b="0" kern="1200" noProof="0" dirty="0">
                        <a:solidFill>
                          <a:schemeClr val="bg1">
                            <a:lumMod val="95000"/>
                          </a:schemeClr>
                        </a:solidFill>
                        <a:latin typeface="Gotham Rounded Book" pitchFamily="50" charset="0"/>
                      </a:endParaRPr>
                    </a:p>
                  </a:txBody>
                  <a:tcPr marL="68589" marR="68589" marT="34282" marB="34282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5" name="Zástupný symbol pro text 1">
            <a:extLst>
              <a:ext uri="{FF2B5EF4-FFF2-40B4-BE49-F238E27FC236}">
                <a16:creationId xmlns:a16="http://schemas.microsoft.com/office/drawing/2014/main" id="{D5A92B90-C8DC-4CE4-95B4-1955D27D52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Jak k „IoT“ přistupují CRA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140BAD1-F818-4EF6-A15A-7212FF765006}"/>
              </a:ext>
            </a:extLst>
          </p:cNvPr>
          <p:cNvGrpSpPr/>
          <p:nvPr/>
        </p:nvGrpSpPr>
        <p:grpSpPr>
          <a:xfrm>
            <a:off x="410952" y="1419622"/>
            <a:ext cx="8347142" cy="2072446"/>
            <a:chOff x="410952" y="1419622"/>
            <a:chExt cx="8347142" cy="2072446"/>
          </a:xfrm>
        </p:grpSpPr>
        <p:sp>
          <p:nvSpPr>
            <p:cNvPr id="42" name="Zaoblený obdélník 36">
              <a:extLst>
                <a:ext uri="{FF2B5EF4-FFF2-40B4-BE49-F238E27FC236}">
                  <a16:creationId xmlns:a16="http://schemas.microsoft.com/office/drawing/2014/main" id="{F3585B9E-D997-4637-9807-92628DC31C60}"/>
                </a:ext>
              </a:extLst>
            </p:cNvPr>
            <p:cNvSpPr/>
            <p:nvPr/>
          </p:nvSpPr>
          <p:spPr>
            <a:xfrm>
              <a:off x="1984162" y="1419622"/>
              <a:ext cx="4485065" cy="2072446"/>
            </a:xfrm>
            <a:prstGeom prst="roundRect">
              <a:avLst>
                <a:gd name="adj" fmla="val 4411"/>
              </a:avLst>
            </a:prstGeom>
            <a:noFill/>
            <a:ln w="9525"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91186" tIns="45592" rIns="91186" bIns="45592" rtlCol="0" anchor="ctr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Rounded Book" pitchFamily="50" charset="0"/>
                <a:ea typeface="+mn-ea"/>
                <a:cs typeface="+mn-cs"/>
              </a:endParaRPr>
            </a:p>
          </p:txBody>
        </p:sp>
        <p:sp>
          <p:nvSpPr>
            <p:cNvPr id="50" name="TextovéPole 89">
              <a:extLst>
                <a:ext uri="{FF2B5EF4-FFF2-40B4-BE49-F238E27FC236}">
                  <a16:creationId xmlns:a16="http://schemas.microsoft.com/office/drawing/2014/main" id="{BF97F384-814A-4CCB-B87A-02A98115CB9F}"/>
                </a:ext>
              </a:extLst>
            </p:cNvPr>
            <p:cNvSpPr txBox="1"/>
            <p:nvPr/>
          </p:nvSpPr>
          <p:spPr>
            <a:xfrm>
              <a:off x="4708017" y="3058664"/>
              <a:ext cx="1122040" cy="192144"/>
            </a:xfrm>
            <a:prstGeom prst="rect">
              <a:avLst/>
            </a:prstGeom>
            <a:noFill/>
          </p:spPr>
          <p:txBody>
            <a:bodyPr wrap="square" lIns="68384" tIns="34183" rIns="68384" bIns="34183" rtlCol="0">
              <a:spAutoFit/>
            </a:bodyPr>
            <a:lstStyle/>
            <a:p>
              <a:pPr marL="0" marR="0" lvl="0" indent="0" algn="ctr" defTabSz="685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99D1C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CRA </a:t>
              </a:r>
              <a:r>
                <a:rPr kumimoji="0" lang="cs-CZ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99D1C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IoT </a:t>
              </a:r>
              <a:r>
                <a:rPr kumimoji="0" lang="cs-CZ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99D1C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Cloud</a:t>
              </a:r>
              <a:endPara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99D1C"/>
                </a:solidFill>
                <a:effectLst/>
                <a:uLnTx/>
                <a:uFillTx/>
                <a:latin typeface="Gotham Rounded Book" pitchFamily="50" charset="0"/>
                <a:ea typeface="+mn-ea"/>
                <a:cs typeface="+mn-cs"/>
              </a:endParaRPr>
            </a:p>
          </p:txBody>
        </p:sp>
        <p:sp>
          <p:nvSpPr>
            <p:cNvPr id="51" name="TextovéPole 90">
              <a:extLst>
                <a:ext uri="{FF2B5EF4-FFF2-40B4-BE49-F238E27FC236}">
                  <a16:creationId xmlns:a16="http://schemas.microsoft.com/office/drawing/2014/main" id="{FE786ED5-0AEC-4085-9493-A9B5CE691C91}"/>
                </a:ext>
              </a:extLst>
            </p:cNvPr>
            <p:cNvSpPr txBox="1"/>
            <p:nvPr/>
          </p:nvSpPr>
          <p:spPr>
            <a:xfrm>
              <a:off x="2840332" y="3044153"/>
              <a:ext cx="1025284" cy="192144"/>
            </a:xfrm>
            <a:prstGeom prst="rect">
              <a:avLst/>
            </a:prstGeom>
            <a:noFill/>
          </p:spPr>
          <p:txBody>
            <a:bodyPr wrap="square" lIns="68384" tIns="34183" rIns="68384" bIns="34183" rtlCol="0">
              <a:spAutoFit/>
            </a:bodyPr>
            <a:lstStyle/>
            <a:p>
              <a:pPr marL="0" marR="0" lvl="0" indent="0" algn="ctr" defTabSz="685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99D1C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CRA IoT</a:t>
              </a:r>
              <a:r>
                <a:rPr kumimoji="0" lang="cs-CZ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99D1C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 síť</a:t>
              </a:r>
              <a:endPara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99D1C"/>
                </a:solidFill>
                <a:effectLst/>
                <a:uLnTx/>
                <a:uFillTx/>
                <a:latin typeface="Gotham Rounded Book" pitchFamily="50" charset="0"/>
                <a:ea typeface="+mn-ea"/>
                <a:cs typeface="+mn-cs"/>
              </a:endParaRPr>
            </a:p>
          </p:txBody>
        </p:sp>
        <p:sp>
          <p:nvSpPr>
            <p:cNvPr id="52" name="TextovéPole 91">
              <a:extLst>
                <a:ext uri="{FF2B5EF4-FFF2-40B4-BE49-F238E27FC236}">
                  <a16:creationId xmlns:a16="http://schemas.microsoft.com/office/drawing/2014/main" id="{A3E3C96D-24DC-4839-9FF2-3041EC9B00D4}"/>
                </a:ext>
              </a:extLst>
            </p:cNvPr>
            <p:cNvSpPr txBox="1"/>
            <p:nvPr/>
          </p:nvSpPr>
          <p:spPr>
            <a:xfrm>
              <a:off x="485994" y="3057246"/>
              <a:ext cx="1133897" cy="192144"/>
            </a:xfrm>
            <a:prstGeom prst="rect">
              <a:avLst/>
            </a:prstGeom>
            <a:noFill/>
          </p:spPr>
          <p:txBody>
            <a:bodyPr wrap="square" lIns="68384" tIns="34183" rIns="68384" bIns="34183" rtlCol="0">
              <a:spAutoFit/>
            </a:bodyPr>
            <a:lstStyle/>
            <a:p>
              <a:pPr marL="0" marR="0" lvl="0" indent="0" algn="ctr" defTabSz="685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Koncová zařízení</a:t>
              </a:r>
              <a:endPara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Gotham Rounded Book" pitchFamily="50" charset="0"/>
                <a:ea typeface="+mn-ea"/>
                <a:cs typeface="+mn-cs"/>
              </a:endParaRPr>
            </a:p>
          </p:txBody>
        </p:sp>
        <p:pic>
          <p:nvPicPr>
            <p:cNvPr id="53" name="Picture 4" descr="https://d30y9cdsu7xlg0.cloudfront.net/png/95548-200.png">
              <a:extLst>
                <a:ext uri="{FF2B5EF4-FFF2-40B4-BE49-F238E27FC236}">
                  <a16:creationId xmlns:a16="http://schemas.microsoft.com/office/drawing/2014/main" id="{B682E1EC-565B-40C7-A137-BB4BE47BC1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8498" y="1850714"/>
              <a:ext cx="573114" cy="5327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6" descr="https://d30y9cdsu7xlg0.cloudfront.net/png/170298-200.png">
              <a:extLst>
                <a:ext uri="{FF2B5EF4-FFF2-40B4-BE49-F238E27FC236}">
                  <a16:creationId xmlns:a16="http://schemas.microsoft.com/office/drawing/2014/main" id="{BD361056-1BF1-4A4E-B3AE-F6B1A09037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duotone>
                <a:srgbClr val="FFFFFF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6425" y="2382226"/>
              <a:ext cx="418635" cy="4470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" name="TextovéPole 94">
              <a:extLst>
                <a:ext uri="{FF2B5EF4-FFF2-40B4-BE49-F238E27FC236}">
                  <a16:creationId xmlns:a16="http://schemas.microsoft.com/office/drawing/2014/main" id="{E61989DE-BEEB-4267-BD98-BD8E4E121C1A}"/>
                </a:ext>
              </a:extLst>
            </p:cNvPr>
            <p:cNvSpPr txBox="1"/>
            <p:nvPr/>
          </p:nvSpPr>
          <p:spPr>
            <a:xfrm>
              <a:off x="7144866" y="3226688"/>
              <a:ext cx="1279090" cy="196150"/>
            </a:xfrm>
            <a:prstGeom prst="rect">
              <a:avLst/>
            </a:prstGeom>
            <a:noFill/>
          </p:spPr>
          <p:txBody>
            <a:bodyPr wrap="square" lIns="68384" tIns="34183" rIns="68384" bIns="34183" rtlCol="0">
              <a:spAutoFit/>
            </a:bodyPr>
            <a:lstStyle/>
            <a:p>
              <a:pPr marL="0" marR="0" lvl="0" indent="0" algn="ctr" defTabSz="685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Vzdálený</a:t>
              </a:r>
              <a:r>
                <a:rPr kumimoji="0" lang="en-GB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 monitoring</a:t>
              </a:r>
            </a:p>
          </p:txBody>
        </p:sp>
        <p:sp>
          <p:nvSpPr>
            <p:cNvPr id="56" name="TextovéPole 95">
              <a:extLst>
                <a:ext uri="{FF2B5EF4-FFF2-40B4-BE49-F238E27FC236}">
                  <a16:creationId xmlns:a16="http://schemas.microsoft.com/office/drawing/2014/main" id="{917D2E62-8810-428F-A09E-2EB5BA4300A2}"/>
                </a:ext>
              </a:extLst>
            </p:cNvPr>
            <p:cNvSpPr txBox="1"/>
            <p:nvPr/>
          </p:nvSpPr>
          <p:spPr>
            <a:xfrm>
              <a:off x="7121890" y="2642983"/>
              <a:ext cx="1371629" cy="192144"/>
            </a:xfrm>
            <a:prstGeom prst="rect">
              <a:avLst/>
            </a:prstGeom>
            <a:noFill/>
          </p:spPr>
          <p:txBody>
            <a:bodyPr wrap="square" lIns="68384" tIns="34183" rIns="68384" bIns="34183" rtlCol="0">
              <a:spAutoFit/>
            </a:bodyPr>
            <a:lstStyle/>
            <a:p>
              <a:pPr marL="0" marR="0" lvl="0" indent="0" algn="ctr" defTabSz="685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Zákaznické aplikace</a:t>
              </a:r>
              <a:endPara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Gotham Rounded Book" pitchFamily="50" charset="0"/>
                <a:ea typeface="+mn-ea"/>
                <a:cs typeface="+mn-cs"/>
              </a:endParaRPr>
            </a:p>
          </p:txBody>
        </p:sp>
        <p:sp>
          <p:nvSpPr>
            <p:cNvPr id="57" name="Zaoblený obdélník 96">
              <a:extLst>
                <a:ext uri="{FF2B5EF4-FFF2-40B4-BE49-F238E27FC236}">
                  <a16:creationId xmlns:a16="http://schemas.microsoft.com/office/drawing/2014/main" id="{969ABD91-21FB-4AF4-BE18-E26DAFB6974C}"/>
                </a:ext>
              </a:extLst>
            </p:cNvPr>
            <p:cNvSpPr/>
            <p:nvPr/>
          </p:nvSpPr>
          <p:spPr>
            <a:xfrm>
              <a:off x="410952" y="1471173"/>
              <a:ext cx="8347142" cy="1963320"/>
            </a:xfrm>
            <a:prstGeom prst="roundRect">
              <a:avLst>
                <a:gd name="adj" fmla="val 4053"/>
              </a:avLst>
            </a:prstGeom>
            <a:noFill/>
            <a:ln w="6350" cap="flat" cmpd="sng" algn="ctr">
              <a:solidFill>
                <a:schemeClr val="bg1"/>
              </a:solidFill>
              <a:prstDash val="dash"/>
            </a:ln>
            <a:effectLst/>
          </p:spPr>
          <p:txBody>
            <a:bodyPr lIns="68384" tIns="34183" rIns="68384" bIns="34183" rtlCol="0" anchor="ctr"/>
            <a:lstStyle/>
            <a:p>
              <a:pPr marL="0" marR="0" lvl="0" indent="0" algn="ctr" defTabSz="685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Rounded Book" pitchFamily="50" charset="-18"/>
                <a:ea typeface="+mn-ea"/>
                <a:cs typeface="+mn-cs"/>
              </a:endParaRPr>
            </a:p>
          </p:txBody>
        </p:sp>
        <p:sp>
          <p:nvSpPr>
            <p:cNvPr id="58" name="TextovéPole 97">
              <a:extLst>
                <a:ext uri="{FF2B5EF4-FFF2-40B4-BE49-F238E27FC236}">
                  <a16:creationId xmlns:a16="http://schemas.microsoft.com/office/drawing/2014/main" id="{F6B5DF6F-91A2-4221-9381-106A0B332AF4}"/>
                </a:ext>
              </a:extLst>
            </p:cNvPr>
            <p:cNvSpPr txBox="1"/>
            <p:nvPr/>
          </p:nvSpPr>
          <p:spPr>
            <a:xfrm>
              <a:off x="3846878" y="2409726"/>
              <a:ext cx="765249" cy="315255"/>
            </a:xfrm>
            <a:prstGeom prst="rect">
              <a:avLst/>
            </a:prstGeom>
            <a:noFill/>
          </p:spPr>
          <p:txBody>
            <a:bodyPr wrap="square" lIns="26920" tIns="34183" rIns="26920" bIns="34183" rtlCol="0">
              <a:spAutoFit/>
            </a:bodyPr>
            <a:lstStyle/>
            <a:p>
              <a:pPr marL="0" marR="0" lvl="0" indent="0" algn="ctr" defTabSz="685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99D1C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Zabezpečení spojení</a:t>
              </a:r>
              <a:endPara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99D1C"/>
                </a:solidFill>
                <a:effectLst/>
                <a:uLnTx/>
                <a:uFillTx/>
                <a:latin typeface="Gotham Rounded Book" pitchFamily="50" charset="0"/>
                <a:ea typeface="+mn-ea"/>
                <a:cs typeface="+mn-cs"/>
              </a:endParaRPr>
            </a:p>
          </p:txBody>
        </p:sp>
        <p:pic>
          <p:nvPicPr>
            <p:cNvPr id="59" name="Picture 2" descr="https://d30y9cdsu7xlg0.cloudfront.net/png/16717-200.png">
              <a:extLst>
                <a:ext uri="{FF2B5EF4-FFF2-40B4-BE49-F238E27FC236}">
                  <a16:creationId xmlns:a16="http://schemas.microsoft.com/office/drawing/2014/main" id="{21DE1385-B99F-41C3-87B3-9D0D85E776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92029" y="1878972"/>
              <a:ext cx="1021404" cy="10246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0" name="Přímá spojnice se šipkou 99">
              <a:extLst>
                <a:ext uri="{FF2B5EF4-FFF2-40B4-BE49-F238E27FC236}">
                  <a16:creationId xmlns:a16="http://schemas.microsoft.com/office/drawing/2014/main" id="{900754C6-2FF7-402A-ADBC-607E422859C7}"/>
                </a:ext>
              </a:extLst>
            </p:cNvPr>
            <p:cNvCxnSpPr/>
            <p:nvPr/>
          </p:nvCxnSpPr>
          <p:spPr>
            <a:xfrm>
              <a:off x="3846137" y="2369603"/>
              <a:ext cx="837169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9D9D9C"/>
              </a:solidFill>
              <a:prstDash val="sysDash"/>
              <a:tailEnd type="arrow"/>
            </a:ln>
            <a:effectLst/>
          </p:spPr>
        </p:cxnSp>
        <p:pic>
          <p:nvPicPr>
            <p:cNvPr id="61" name="Picture 4" descr="https://d30y9cdsu7xlg0.cloudfront.net/png/247696-200.png">
              <a:extLst>
                <a:ext uri="{FF2B5EF4-FFF2-40B4-BE49-F238E27FC236}">
                  <a16:creationId xmlns:a16="http://schemas.microsoft.com/office/drawing/2014/main" id="{DC102BAF-F6DF-4613-9982-72308E4F5D8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44945" y="1946546"/>
              <a:ext cx="947646" cy="10119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6" descr="https://d30y9cdsu7xlg0.cloudfront.net/png/33089-200.png">
              <a:extLst>
                <a:ext uri="{FF2B5EF4-FFF2-40B4-BE49-F238E27FC236}">
                  <a16:creationId xmlns:a16="http://schemas.microsoft.com/office/drawing/2014/main" id="{C74271BA-7E84-4064-9263-9263CA6A65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68175" y="2807326"/>
              <a:ext cx="432137" cy="4614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8" descr="https://d30y9cdsu7xlg0.cloudfront.net/png/60216-200.png">
              <a:extLst>
                <a:ext uri="{FF2B5EF4-FFF2-40B4-BE49-F238E27FC236}">
                  <a16:creationId xmlns:a16="http://schemas.microsoft.com/office/drawing/2014/main" id="{7C82D55D-2D8A-4ADE-B2EE-9076A9618D1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7875" y="2091541"/>
              <a:ext cx="548000" cy="585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4" name="TextovéPole 104">
              <a:extLst>
                <a:ext uri="{FF2B5EF4-FFF2-40B4-BE49-F238E27FC236}">
                  <a16:creationId xmlns:a16="http://schemas.microsoft.com/office/drawing/2014/main" id="{821C6A61-46DD-4061-B75E-50D10C235126}"/>
                </a:ext>
              </a:extLst>
            </p:cNvPr>
            <p:cNvSpPr txBox="1"/>
            <p:nvPr/>
          </p:nvSpPr>
          <p:spPr>
            <a:xfrm>
              <a:off x="7191454" y="1862701"/>
              <a:ext cx="1232502" cy="192144"/>
            </a:xfrm>
            <a:prstGeom prst="rect">
              <a:avLst/>
            </a:prstGeom>
            <a:noFill/>
          </p:spPr>
          <p:txBody>
            <a:bodyPr wrap="square" lIns="68384" tIns="34183" rIns="68384" bIns="34183" rtlCol="0">
              <a:spAutoFit/>
            </a:bodyPr>
            <a:lstStyle/>
            <a:p>
              <a:pPr marL="0" marR="0" lvl="0" indent="0" algn="ctr" defTabSz="6855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95000"/>
                    </a:prstClr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IoT platformy</a:t>
              </a:r>
              <a:endPara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Gotham Rounded Book" pitchFamily="50" charset="0"/>
                <a:ea typeface="+mn-ea"/>
                <a:cs typeface="+mn-cs"/>
              </a:endParaRPr>
            </a:p>
          </p:txBody>
        </p:sp>
        <p:cxnSp>
          <p:nvCxnSpPr>
            <p:cNvPr id="65" name="Přímá spojnice se šipkou 105">
              <a:extLst>
                <a:ext uri="{FF2B5EF4-FFF2-40B4-BE49-F238E27FC236}">
                  <a16:creationId xmlns:a16="http://schemas.microsoft.com/office/drawing/2014/main" id="{4A93E05D-E468-457D-A462-E2896DE24E07}"/>
                </a:ext>
              </a:extLst>
            </p:cNvPr>
            <p:cNvCxnSpPr/>
            <p:nvPr/>
          </p:nvCxnSpPr>
          <p:spPr>
            <a:xfrm>
              <a:off x="6339268" y="2365014"/>
              <a:ext cx="1057413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9D9D9C"/>
              </a:solidFill>
              <a:prstDash val="sysDash"/>
              <a:tailEnd type="arrow"/>
            </a:ln>
            <a:effectLst/>
          </p:spPr>
        </p:cxnSp>
        <p:cxnSp>
          <p:nvCxnSpPr>
            <p:cNvPr id="66" name="Přímá spojnice se šipkou 106">
              <a:extLst>
                <a:ext uri="{FF2B5EF4-FFF2-40B4-BE49-F238E27FC236}">
                  <a16:creationId xmlns:a16="http://schemas.microsoft.com/office/drawing/2014/main" id="{271CC280-4BD3-43DA-B06E-58037900120F}"/>
                </a:ext>
              </a:extLst>
            </p:cNvPr>
            <p:cNvCxnSpPr/>
            <p:nvPr/>
          </p:nvCxnSpPr>
          <p:spPr>
            <a:xfrm>
              <a:off x="6867991" y="1678297"/>
              <a:ext cx="606659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9D9D9C"/>
              </a:solidFill>
              <a:prstDash val="sysDash"/>
              <a:tailEnd type="arrow"/>
            </a:ln>
            <a:effectLst/>
          </p:spPr>
        </p:cxnSp>
        <p:cxnSp>
          <p:nvCxnSpPr>
            <p:cNvPr id="67" name="Přímá spojnice se šipkou 107">
              <a:extLst>
                <a:ext uri="{FF2B5EF4-FFF2-40B4-BE49-F238E27FC236}">
                  <a16:creationId xmlns:a16="http://schemas.microsoft.com/office/drawing/2014/main" id="{0B50E30F-B4B9-4CF8-8825-D7F7AE1CC171}"/>
                </a:ext>
              </a:extLst>
            </p:cNvPr>
            <p:cNvCxnSpPr/>
            <p:nvPr/>
          </p:nvCxnSpPr>
          <p:spPr>
            <a:xfrm>
              <a:off x="6867991" y="2945424"/>
              <a:ext cx="606659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9D9D9C"/>
              </a:solidFill>
              <a:prstDash val="sysDash"/>
              <a:tailEnd type="arrow"/>
            </a:ln>
            <a:effectLst/>
          </p:spPr>
        </p:cxnSp>
        <p:cxnSp>
          <p:nvCxnSpPr>
            <p:cNvPr id="68" name="Přímá spojnice 108">
              <a:extLst>
                <a:ext uri="{FF2B5EF4-FFF2-40B4-BE49-F238E27FC236}">
                  <a16:creationId xmlns:a16="http://schemas.microsoft.com/office/drawing/2014/main" id="{E58D32A6-EA36-4B88-9EA5-BB46F3A46F2F}"/>
                </a:ext>
              </a:extLst>
            </p:cNvPr>
            <p:cNvCxnSpPr/>
            <p:nvPr/>
          </p:nvCxnSpPr>
          <p:spPr>
            <a:xfrm>
              <a:off x="6867973" y="1672052"/>
              <a:ext cx="0" cy="1286470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65000"/>
                </a:srgbClr>
              </a:solidFill>
              <a:prstDash val="sysDash"/>
            </a:ln>
            <a:effectLst/>
          </p:spPr>
        </p:cxnSp>
        <p:pic>
          <p:nvPicPr>
            <p:cNvPr id="69" name="Picture 14" descr="https://d30y9cdsu7xlg0.cloudfront.net/png/220581-200.png">
              <a:extLst>
                <a:ext uri="{FF2B5EF4-FFF2-40B4-BE49-F238E27FC236}">
                  <a16:creationId xmlns:a16="http://schemas.microsoft.com/office/drawing/2014/main" id="{620E1BBA-C5CF-49D2-A99C-E7DDA4D28A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856" y="2445938"/>
              <a:ext cx="523943" cy="5595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" name="Picture 16" descr="https://d30y9cdsu7xlg0.cloudfront.net/png/202632-200.png">
              <a:extLst>
                <a:ext uri="{FF2B5EF4-FFF2-40B4-BE49-F238E27FC236}">
                  <a16:creationId xmlns:a16="http://schemas.microsoft.com/office/drawing/2014/main" id="{17B44077-D7BC-458D-9705-66481B7448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screen">
              <a:duotone>
                <a:srgbClr val="FFFFFF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2127" y="1568720"/>
              <a:ext cx="498198" cy="5320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1" name="TextovéPole 111">
              <a:extLst>
                <a:ext uri="{FF2B5EF4-FFF2-40B4-BE49-F238E27FC236}">
                  <a16:creationId xmlns:a16="http://schemas.microsoft.com/office/drawing/2014/main" id="{383C08E2-0B92-40B5-8814-C28AD086C288}"/>
                </a:ext>
              </a:extLst>
            </p:cNvPr>
            <p:cNvSpPr txBox="1"/>
            <p:nvPr/>
          </p:nvSpPr>
          <p:spPr>
            <a:xfrm>
              <a:off x="2158656" y="1585267"/>
              <a:ext cx="1228244" cy="192144"/>
            </a:xfrm>
            <a:prstGeom prst="rect">
              <a:avLst/>
            </a:prstGeom>
            <a:noFill/>
          </p:spPr>
          <p:txBody>
            <a:bodyPr wrap="square" lIns="26920" tIns="34183" rIns="26920" bIns="34183" rtlCol="0">
              <a:spAutoFit/>
            </a:bodyPr>
            <a:lstStyle/>
            <a:p>
              <a:pPr marL="0" marR="0" lvl="0" indent="0" algn="ctr" defTabSz="3427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99D1C"/>
                  </a:solidFill>
                  <a:effectLst/>
                  <a:uLnTx/>
                  <a:uFillTx/>
                  <a:latin typeface="Gotham Rounded Book" pitchFamily="50" charset="0"/>
                  <a:ea typeface="+mn-ea"/>
                  <a:cs typeface="+mn-cs"/>
                </a:rPr>
                <a:t>Komunikační služba</a:t>
              </a:r>
              <a:endPara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F99D1C"/>
                </a:solidFill>
                <a:effectLst/>
                <a:uLnTx/>
                <a:uFillTx/>
                <a:latin typeface="Gotham Rounded Book" pitchFamily="50" charset="0"/>
                <a:ea typeface="+mn-ea"/>
                <a:cs typeface="+mn-cs"/>
              </a:endParaRPr>
            </a:p>
          </p:txBody>
        </p:sp>
        <p:cxnSp>
          <p:nvCxnSpPr>
            <p:cNvPr id="72" name="Přímá spojnice se šipkou 112">
              <a:extLst>
                <a:ext uri="{FF2B5EF4-FFF2-40B4-BE49-F238E27FC236}">
                  <a16:creationId xmlns:a16="http://schemas.microsoft.com/office/drawing/2014/main" id="{051E6310-1A7A-4597-94FC-8E1E5231B416}"/>
                </a:ext>
              </a:extLst>
            </p:cNvPr>
            <p:cNvCxnSpPr/>
            <p:nvPr/>
          </p:nvCxnSpPr>
          <p:spPr>
            <a:xfrm>
              <a:off x="1895023" y="2315287"/>
              <a:ext cx="629612" cy="3784"/>
            </a:xfrm>
            <a:prstGeom prst="straightConnector1">
              <a:avLst/>
            </a:prstGeom>
            <a:noFill/>
            <a:ln w="19050" cap="flat" cmpd="sng" algn="ctr">
              <a:solidFill>
                <a:srgbClr val="9D9D9C"/>
              </a:solidFill>
              <a:prstDash val="sysDash"/>
              <a:tailEnd type="arrow"/>
            </a:ln>
            <a:effectLst/>
          </p:spPr>
        </p:cxnSp>
        <p:cxnSp>
          <p:nvCxnSpPr>
            <p:cNvPr id="73" name="Přímá spojnice se šipkou 113">
              <a:extLst>
                <a:ext uri="{FF2B5EF4-FFF2-40B4-BE49-F238E27FC236}">
                  <a16:creationId xmlns:a16="http://schemas.microsoft.com/office/drawing/2014/main" id="{02A0B755-6911-4706-A198-2BA6DAD88B14}"/>
                </a:ext>
              </a:extLst>
            </p:cNvPr>
            <p:cNvCxnSpPr/>
            <p:nvPr/>
          </p:nvCxnSpPr>
          <p:spPr>
            <a:xfrm>
              <a:off x="1895023" y="1878989"/>
              <a:ext cx="629612" cy="280757"/>
            </a:xfrm>
            <a:prstGeom prst="straightConnector1">
              <a:avLst/>
            </a:prstGeom>
            <a:noFill/>
            <a:ln w="19050" cap="flat" cmpd="sng" algn="ctr">
              <a:solidFill>
                <a:srgbClr val="9D9D9C"/>
              </a:solidFill>
              <a:prstDash val="sysDash"/>
              <a:tailEnd type="arrow"/>
            </a:ln>
            <a:effectLst/>
          </p:spPr>
        </p:cxnSp>
        <p:cxnSp>
          <p:nvCxnSpPr>
            <p:cNvPr id="74" name="Přímá spojnice se šipkou 114">
              <a:extLst>
                <a:ext uri="{FF2B5EF4-FFF2-40B4-BE49-F238E27FC236}">
                  <a16:creationId xmlns:a16="http://schemas.microsoft.com/office/drawing/2014/main" id="{5310D0B0-6107-43EC-8217-9D21F097DE6A}"/>
                </a:ext>
              </a:extLst>
            </p:cNvPr>
            <p:cNvCxnSpPr/>
            <p:nvPr/>
          </p:nvCxnSpPr>
          <p:spPr>
            <a:xfrm flipV="1">
              <a:off x="1895023" y="2483379"/>
              <a:ext cx="629612" cy="237915"/>
            </a:xfrm>
            <a:prstGeom prst="straightConnector1">
              <a:avLst/>
            </a:prstGeom>
            <a:noFill/>
            <a:ln w="19050" cap="flat" cmpd="sng" algn="ctr">
              <a:solidFill>
                <a:srgbClr val="9D9D9C"/>
              </a:solidFill>
              <a:prstDash val="sysDash"/>
              <a:tailEnd type="arrow"/>
            </a:ln>
            <a:effectLst/>
          </p:spPr>
        </p:cxnSp>
        <p:pic>
          <p:nvPicPr>
            <p:cNvPr id="77" name="Picture 62" descr="VÃ½sledek obrÃ¡zku pro aws icon">
              <a:extLst>
                <a:ext uri="{FF2B5EF4-FFF2-40B4-BE49-F238E27FC236}">
                  <a16:creationId xmlns:a16="http://schemas.microsoft.com/office/drawing/2014/main" id="{A376E1D5-FCAB-4F4D-AD83-0230BE45928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005" y="1484131"/>
              <a:ext cx="395867" cy="3958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701791"/>
            <a:ext cx="6937084" cy="3621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53492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ovéPole 6"/>
          <p:cNvSpPr txBox="1"/>
          <p:nvPr/>
        </p:nvSpPr>
        <p:spPr>
          <a:xfrm>
            <a:off x="502791" y="3089689"/>
            <a:ext cx="415588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067"/>
            <a:r>
              <a:rPr lang="cs-CZ" dirty="0">
                <a:solidFill>
                  <a:srgbClr val="F99D1C"/>
                </a:solidFill>
                <a:latin typeface="Gotham Rounded Bold" pitchFamily="50" charset="-18"/>
              </a:rPr>
              <a:t>Pilotní provoz sítě 2016</a:t>
            </a:r>
          </a:p>
          <a:p>
            <a:pPr marL="257106" indent="-257106" defTabSz="457067">
              <a:buFont typeface="Arial" panose="020B0604020202020204" pitchFamily="34" charset="0"/>
              <a:buChar char="•"/>
            </a:pPr>
            <a:endParaRPr lang="cs-CZ" sz="1200" dirty="0">
              <a:solidFill>
                <a:srgbClr val="293133"/>
              </a:solidFill>
              <a:latin typeface="Gotham Rounded Bold" pitchFamily="50" charset="-18"/>
            </a:endParaRPr>
          </a:p>
          <a:p>
            <a:pPr marL="257106" indent="-257106" defTabSz="457067">
              <a:buFont typeface="Arial" panose="020B0604020202020204" pitchFamily="34" charset="0"/>
              <a:buChar char="•"/>
            </a:pPr>
            <a:r>
              <a:rPr lang="cs-CZ" sz="1050" dirty="0">
                <a:solidFill>
                  <a:schemeClr val="bg1"/>
                </a:solidFill>
                <a:latin typeface="Gotham Rounded Bold" pitchFamily="50" charset="-18"/>
              </a:rPr>
              <a:t>Pilotní provoz sítě IoT v krajských městech a okolí</a:t>
            </a:r>
          </a:p>
          <a:p>
            <a:pPr marL="257106" indent="-257106" defTabSz="457067">
              <a:buFont typeface="Arial" panose="020B0604020202020204" pitchFamily="34" charset="0"/>
              <a:buChar char="•"/>
            </a:pPr>
            <a:r>
              <a:rPr lang="cs-CZ" sz="1050" dirty="0">
                <a:solidFill>
                  <a:schemeClr val="bg1"/>
                </a:solidFill>
                <a:latin typeface="Gotham Rounded Bold" pitchFamily="50" charset="-18"/>
              </a:rPr>
              <a:t>Otestování provozu zabezpečené technologie na území ČR</a:t>
            </a:r>
          </a:p>
          <a:p>
            <a:pPr marL="257106" indent="-257106" defTabSz="457067">
              <a:buFont typeface="Arial" panose="020B0604020202020204" pitchFamily="34" charset="0"/>
              <a:buChar char="•"/>
            </a:pPr>
            <a:r>
              <a:rPr lang="cs-CZ" sz="1050" dirty="0">
                <a:solidFill>
                  <a:schemeClr val="bg1"/>
                </a:solidFill>
                <a:latin typeface="Gotham Rounded Bold" pitchFamily="50" charset="-18"/>
              </a:rPr>
              <a:t>Příprava základního konceptu produktů pro trh 2017</a:t>
            </a:r>
          </a:p>
          <a:p>
            <a:pPr defTabSz="457067"/>
            <a:endParaRPr lang="cs-CZ" dirty="0">
              <a:solidFill>
                <a:srgbClr val="293133"/>
              </a:solidFill>
              <a:latin typeface="Gotham Rounded Bold" pitchFamily="50" charset="-18"/>
            </a:endParaRPr>
          </a:p>
        </p:txBody>
      </p:sp>
      <p:sp>
        <p:nvSpPr>
          <p:cNvPr id="8" name="TextovéPole 7"/>
          <p:cNvSpPr txBox="1"/>
          <p:nvPr/>
        </p:nvSpPr>
        <p:spPr>
          <a:xfrm>
            <a:off x="4658672" y="3061647"/>
            <a:ext cx="4155881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067"/>
            <a:r>
              <a:rPr lang="cs-CZ" dirty="0">
                <a:solidFill>
                  <a:srgbClr val="F99D1C"/>
                </a:solidFill>
                <a:latin typeface="Gotham Rounded Bold" pitchFamily="50" charset="-18"/>
              </a:rPr>
              <a:t>Plošné </a:t>
            </a:r>
            <a:r>
              <a:rPr lang="cs-CZ" dirty="0" smtClean="0">
                <a:solidFill>
                  <a:srgbClr val="F99D1C"/>
                </a:solidFill>
                <a:latin typeface="Gotham Rounded Bold" pitchFamily="50" charset="-18"/>
              </a:rPr>
              <a:t>pokrytí od 2020</a:t>
            </a:r>
            <a:endParaRPr lang="cs-CZ" dirty="0">
              <a:solidFill>
                <a:srgbClr val="F99D1C"/>
              </a:solidFill>
              <a:latin typeface="Gotham Rounded Bold" pitchFamily="50" charset="-18"/>
            </a:endParaRPr>
          </a:p>
          <a:p>
            <a:pPr marL="257106" indent="-257106" defTabSz="457067">
              <a:buFont typeface="Arial" panose="020B0604020202020204" pitchFamily="34" charset="0"/>
              <a:buChar char="•"/>
            </a:pPr>
            <a:endParaRPr lang="cs-CZ" sz="1200" dirty="0">
              <a:solidFill>
                <a:srgbClr val="293133"/>
              </a:solidFill>
              <a:latin typeface="Gotham Rounded Bold" pitchFamily="50" charset="-18"/>
            </a:endParaRPr>
          </a:p>
          <a:p>
            <a:pPr marL="257106" indent="-257106" defTabSz="457067">
              <a:buFont typeface="Arial" panose="020B0604020202020204" pitchFamily="34" charset="0"/>
              <a:buChar char="•"/>
            </a:pPr>
            <a:r>
              <a:rPr lang="cs-CZ" sz="1050" dirty="0">
                <a:solidFill>
                  <a:schemeClr val="bg1"/>
                </a:solidFill>
                <a:latin typeface="Gotham Rounded Bold" pitchFamily="50" charset="-18"/>
              </a:rPr>
              <a:t>Zrychlená výstavba sítě pro celonárodní použití</a:t>
            </a:r>
          </a:p>
          <a:p>
            <a:pPr defTabSz="457067"/>
            <a:endParaRPr lang="cs-CZ" sz="1050" dirty="0">
              <a:solidFill>
                <a:srgbClr val="293133"/>
              </a:solidFill>
              <a:latin typeface="Gotham Rounded Bold" pitchFamily="50" charset="-18"/>
            </a:endParaRPr>
          </a:p>
          <a:p>
            <a:pPr marL="257106" indent="-257106" defTabSz="457067">
              <a:buFont typeface="Arial" panose="020B0604020202020204" pitchFamily="34" charset="0"/>
              <a:buChar char="•"/>
            </a:pPr>
            <a:r>
              <a:rPr lang="cs-CZ" sz="1050" dirty="0">
                <a:solidFill>
                  <a:schemeClr val="tx2"/>
                </a:solidFill>
                <a:latin typeface="Gotham Rounded Bold" pitchFamily="50" charset="-18"/>
              </a:rPr>
              <a:t>Možnost projektového dokrytí signálem IoT pro specifické účely</a:t>
            </a:r>
          </a:p>
          <a:p>
            <a:pPr marL="257106" indent="-257106" defTabSz="457067">
              <a:buFont typeface="Arial" panose="020B0604020202020204" pitchFamily="34" charset="0"/>
              <a:buChar char="•"/>
            </a:pPr>
            <a:endParaRPr lang="cs-CZ" sz="1050" dirty="0">
              <a:solidFill>
                <a:schemeClr val="tx2"/>
              </a:solidFill>
              <a:latin typeface="Gotham Rounded Bold" pitchFamily="50" charset="-18"/>
            </a:endParaRPr>
          </a:p>
          <a:p>
            <a:pPr marL="257106" indent="-257106" defTabSz="457067">
              <a:buFont typeface="Arial" panose="020B0604020202020204" pitchFamily="34" charset="0"/>
              <a:buChar char="•"/>
            </a:pPr>
            <a:r>
              <a:rPr lang="cs-CZ" sz="1050" dirty="0">
                <a:solidFill>
                  <a:schemeClr val="tx2"/>
                </a:solidFill>
                <a:latin typeface="Gotham Rounded Bold" pitchFamily="50" charset="-18"/>
              </a:rPr>
              <a:t>Specifický produkt pro lokální / ostrovní systémy</a:t>
            </a:r>
          </a:p>
        </p:txBody>
      </p:sp>
      <p:sp>
        <p:nvSpPr>
          <p:cNvPr id="9" name="Zástupný symbol pro text 1"/>
          <p:cNvSpPr>
            <a:spLocks noGrp="1"/>
          </p:cNvSpPr>
          <p:nvPr>
            <p:ph type="body" sz="quarter" idx="10"/>
          </p:nvPr>
        </p:nvSpPr>
        <p:spPr>
          <a:xfrm>
            <a:off x="387004" y="322347"/>
            <a:ext cx="8371090" cy="413004"/>
          </a:xfrm>
        </p:spPr>
        <p:txBody>
          <a:bodyPr/>
          <a:lstStyle/>
          <a:p>
            <a:r>
              <a:rPr lang="cs-CZ" dirty="0">
                <a:latin typeface="Gotham Rounded Book" pitchFamily="50" charset="-18"/>
              </a:rPr>
              <a:t>Rozvoj pokrytí IoT sítě </a:t>
            </a:r>
            <a:r>
              <a:rPr lang="cs-CZ" dirty="0" err="1">
                <a:latin typeface="Gotham Rounded Book" pitchFamily="50" charset="-18"/>
              </a:rPr>
              <a:t>LoRaWAN</a:t>
            </a:r>
            <a:endParaRPr lang="cs-CZ" dirty="0">
              <a:latin typeface="Gotham Rounded Book" pitchFamily="50" charset="-18"/>
            </a:endParaRPr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981" y="924314"/>
            <a:ext cx="3399500" cy="2035335"/>
          </a:xfrm>
          <a:prstGeom prst="rect">
            <a:avLst/>
          </a:prstGeom>
        </p:spPr>
      </p:pic>
      <p:pic>
        <p:nvPicPr>
          <p:cNvPr id="12" name="Obrázek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2416" y="884744"/>
            <a:ext cx="3528392" cy="2074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980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4" name="Freeform: Shape 933">
            <a:extLst>
              <a:ext uri="{FF2B5EF4-FFF2-40B4-BE49-F238E27FC236}">
                <a16:creationId xmlns:a16="http://schemas.microsoft.com/office/drawing/2014/main" id="{17737C1F-D722-4554-8357-4FB7D6307324}"/>
              </a:ext>
            </a:extLst>
          </p:cNvPr>
          <p:cNvSpPr/>
          <p:nvPr/>
        </p:nvSpPr>
        <p:spPr>
          <a:xfrm>
            <a:off x="4662457" y="2818424"/>
            <a:ext cx="934635" cy="2026360"/>
          </a:xfrm>
          <a:custGeom>
            <a:avLst/>
            <a:gdLst>
              <a:gd name="connsiteX0" fmla="*/ 86592 w 1257542"/>
              <a:gd name="connsiteY0" fmla="*/ 286 h 2726447"/>
              <a:gd name="connsiteX1" fmla="*/ 113308 w 1257542"/>
              <a:gd name="connsiteY1" fmla="*/ 13184 h 2726447"/>
              <a:gd name="connsiteX2" fmla="*/ 161670 w 1257542"/>
              <a:gd name="connsiteY2" fmla="*/ 109448 h 2726447"/>
              <a:gd name="connsiteX3" fmla="*/ 246420 w 1257542"/>
              <a:gd name="connsiteY3" fmla="*/ 403770 h 2726447"/>
              <a:gd name="connsiteX4" fmla="*/ 273595 w 1257542"/>
              <a:gd name="connsiteY4" fmla="*/ 436472 h 2726447"/>
              <a:gd name="connsiteX5" fmla="*/ 491458 w 1257542"/>
              <a:gd name="connsiteY5" fmla="*/ 504180 h 2726447"/>
              <a:gd name="connsiteX6" fmla="*/ 692739 w 1257542"/>
              <a:gd name="connsiteY6" fmla="*/ 498193 h 2726447"/>
              <a:gd name="connsiteX7" fmla="*/ 765053 w 1257542"/>
              <a:gd name="connsiteY7" fmla="*/ 485756 h 2726447"/>
              <a:gd name="connsiteX8" fmla="*/ 880203 w 1257542"/>
              <a:gd name="connsiteY8" fmla="*/ 436012 h 2726447"/>
              <a:gd name="connsiteX9" fmla="*/ 1189724 w 1257542"/>
              <a:gd name="connsiteY9" fmla="*/ 211700 h 2726447"/>
              <a:gd name="connsiteX10" fmla="*/ 1198476 w 1257542"/>
              <a:gd name="connsiteY10" fmla="*/ 205252 h 2726447"/>
              <a:gd name="connsiteX11" fmla="*/ 1250523 w 1257542"/>
              <a:gd name="connsiteY11" fmla="*/ 207556 h 2726447"/>
              <a:gd name="connsiteX12" fmla="*/ 1238548 w 1257542"/>
              <a:gd name="connsiteY12" fmla="*/ 257761 h 2726447"/>
              <a:gd name="connsiteX13" fmla="*/ 801901 w 1257542"/>
              <a:gd name="connsiteY13" fmla="*/ 599984 h 2726447"/>
              <a:gd name="connsiteX14" fmla="*/ 648982 w 1257542"/>
              <a:gd name="connsiteY14" fmla="*/ 701316 h 2726447"/>
              <a:gd name="connsiteX15" fmla="*/ 392429 w 1257542"/>
              <a:gd name="connsiteY15" fmla="*/ 927930 h 2726447"/>
              <a:gd name="connsiteX16" fmla="*/ 321498 w 1257542"/>
              <a:gd name="connsiteY16" fmla="*/ 1040775 h 2726447"/>
              <a:gd name="connsiteX17" fmla="*/ 304916 w 1257542"/>
              <a:gd name="connsiteY17" fmla="*/ 1124144 h 2726447"/>
              <a:gd name="connsiteX18" fmla="*/ 337619 w 1257542"/>
              <a:gd name="connsiteY18" fmla="*/ 1639092 h 2726447"/>
              <a:gd name="connsiteX19" fmla="*/ 371702 w 1257542"/>
              <a:gd name="connsiteY19" fmla="*/ 2071132 h 2726447"/>
              <a:gd name="connsiteX20" fmla="*/ 414077 w 1257542"/>
              <a:gd name="connsiteY20" fmla="*/ 2574565 h 2726447"/>
              <a:gd name="connsiteX21" fmla="*/ 426913 w 1257542"/>
              <a:gd name="connsiteY21" fmla="*/ 2726447 h 2726447"/>
              <a:gd name="connsiteX22" fmla="*/ 445 w 1257542"/>
              <a:gd name="connsiteY22" fmla="*/ 2726447 h 2726447"/>
              <a:gd name="connsiteX23" fmla="*/ 0 w 1257542"/>
              <a:gd name="connsiteY23" fmla="*/ 708685 h 2726447"/>
              <a:gd name="connsiteX24" fmla="*/ 22109 w 1257542"/>
              <a:gd name="connsiteY24" fmla="*/ 650650 h 2726447"/>
              <a:gd name="connsiteX25" fmla="*/ 46981 w 1257542"/>
              <a:gd name="connsiteY25" fmla="*/ 621171 h 2726447"/>
              <a:gd name="connsiteX26" fmla="*/ 87975 w 1257542"/>
              <a:gd name="connsiteY26" fmla="*/ 470556 h 2726447"/>
              <a:gd name="connsiteX27" fmla="*/ 55733 w 1257542"/>
              <a:gd name="connsiteY27" fmla="*/ 93788 h 2726447"/>
              <a:gd name="connsiteX28" fmla="*/ 55733 w 1257542"/>
              <a:gd name="connsiteY28" fmla="*/ 31147 h 2726447"/>
              <a:gd name="connsiteX29" fmla="*/ 86592 w 1257542"/>
              <a:gd name="connsiteY29" fmla="*/ 286 h 2726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257542" h="2726447">
                <a:moveTo>
                  <a:pt x="86592" y="286"/>
                </a:moveTo>
                <a:cubicBezTo>
                  <a:pt x="93962" y="-1557"/>
                  <a:pt x="109162" y="5814"/>
                  <a:pt x="113308" y="13184"/>
                </a:cubicBezTo>
                <a:cubicBezTo>
                  <a:pt x="131271" y="44504"/>
                  <a:pt x="151076" y="75824"/>
                  <a:pt x="161670" y="109448"/>
                </a:cubicBezTo>
                <a:cubicBezTo>
                  <a:pt x="192069" y="206634"/>
                  <a:pt x="219244" y="305202"/>
                  <a:pt x="246420" y="403770"/>
                </a:cubicBezTo>
                <a:cubicBezTo>
                  <a:pt x="251026" y="420351"/>
                  <a:pt x="257935" y="429564"/>
                  <a:pt x="273595" y="436472"/>
                </a:cubicBezTo>
                <a:cubicBezTo>
                  <a:pt x="343606" y="468254"/>
                  <a:pt x="414538" y="499574"/>
                  <a:pt x="491458" y="504180"/>
                </a:cubicBezTo>
                <a:cubicBezTo>
                  <a:pt x="558244" y="508326"/>
                  <a:pt x="625953" y="501876"/>
                  <a:pt x="692739" y="498193"/>
                </a:cubicBezTo>
                <a:cubicBezTo>
                  <a:pt x="717151" y="496811"/>
                  <a:pt x="741102" y="490362"/>
                  <a:pt x="765053" y="485756"/>
                </a:cubicBezTo>
                <a:cubicBezTo>
                  <a:pt x="806967" y="477465"/>
                  <a:pt x="845658" y="461345"/>
                  <a:pt x="880203" y="436012"/>
                </a:cubicBezTo>
                <a:cubicBezTo>
                  <a:pt x="983376" y="360935"/>
                  <a:pt x="1086551" y="286779"/>
                  <a:pt x="1189724" y="211700"/>
                </a:cubicBezTo>
                <a:cubicBezTo>
                  <a:pt x="1192487" y="209398"/>
                  <a:pt x="1195713" y="207095"/>
                  <a:pt x="1198476" y="205252"/>
                </a:cubicBezTo>
                <a:cubicBezTo>
                  <a:pt x="1219202" y="190513"/>
                  <a:pt x="1238087" y="191434"/>
                  <a:pt x="1250523" y="207556"/>
                </a:cubicBezTo>
                <a:cubicBezTo>
                  <a:pt x="1262959" y="223676"/>
                  <a:pt x="1258814" y="242100"/>
                  <a:pt x="1238548" y="257761"/>
                </a:cubicBezTo>
                <a:cubicBezTo>
                  <a:pt x="1092999" y="371989"/>
                  <a:pt x="948832" y="487598"/>
                  <a:pt x="801901" y="599984"/>
                </a:cubicBezTo>
                <a:cubicBezTo>
                  <a:pt x="753538" y="637293"/>
                  <a:pt x="699187" y="666311"/>
                  <a:pt x="648982" y="701316"/>
                </a:cubicBezTo>
                <a:cubicBezTo>
                  <a:pt x="555020" y="767182"/>
                  <a:pt x="464743" y="838113"/>
                  <a:pt x="392429" y="927930"/>
                </a:cubicBezTo>
                <a:cubicBezTo>
                  <a:pt x="364794" y="962474"/>
                  <a:pt x="340843" y="1001164"/>
                  <a:pt x="321498" y="1040775"/>
                </a:cubicBezTo>
                <a:cubicBezTo>
                  <a:pt x="309522" y="1065648"/>
                  <a:pt x="303534" y="1096508"/>
                  <a:pt x="304916" y="1124144"/>
                </a:cubicBezTo>
                <a:cubicBezTo>
                  <a:pt x="314128" y="1295946"/>
                  <a:pt x="325643" y="1467749"/>
                  <a:pt x="337619" y="1639092"/>
                </a:cubicBezTo>
                <a:cubicBezTo>
                  <a:pt x="347752" y="1783258"/>
                  <a:pt x="360187" y="1927425"/>
                  <a:pt x="371702" y="2071132"/>
                </a:cubicBezTo>
                <a:cubicBezTo>
                  <a:pt x="385520" y="2238790"/>
                  <a:pt x="399799" y="2406908"/>
                  <a:pt x="414077" y="2574565"/>
                </a:cubicBezTo>
                <a:lnTo>
                  <a:pt x="426913" y="2726447"/>
                </a:lnTo>
                <a:lnTo>
                  <a:pt x="445" y="2726447"/>
                </a:lnTo>
                <a:lnTo>
                  <a:pt x="0" y="708685"/>
                </a:lnTo>
                <a:cubicBezTo>
                  <a:pt x="0" y="686116"/>
                  <a:pt x="5987" y="666770"/>
                  <a:pt x="22109" y="650650"/>
                </a:cubicBezTo>
                <a:cubicBezTo>
                  <a:pt x="30861" y="641438"/>
                  <a:pt x="38691" y="630845"/>
                  <a:pt x="46981" y="621171"/>
                </a:cubicBezTo>
                <a:cubicBezTo>
                  <a:pt x="83829" y="577416"/>
                  <a:pt x="93962" y="527670"/>
                  <a:pt x="87975" y="470556"/>
                </a:cubicBezTo>
                <a:cubicBezTo>
                  <a:pt x="74616" y="345274"/>
                  <a:pt x="65866" y="219531"/>
                  <a:pt x="55733" y="93788"/>
                </a:cubicBezTo>
                <a:cubicBezTo>
                  <a:pt x="53890" y="73061"/>
                  <a:pt x="56193" y="52334"/>
                  <a:pt x="55733" y="31147"/>
                </a:cubicBezTo>
                <a:cubicBezTo>
                  <a:pt x="55733" y="10419"/>
                  <a:pt x="72314" y="3971"/>
                  <a:pt x="86592" y="286"/>
                </a:cubicBezTo>
                <a:close/>
              </a:path>
            </a:pathLst>
          </a:custGeom>
          <a:solidFill>
            <a:schemeClr val="accent4"/>
          </a:solidFill>
          <a:ln w="3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215"/>
          </a:p>
        </p:txBody>
      </p:sp>
      <p:sp>
        <p:nvSpPr>
          <p:cNvPr id="935" name="Freeform: Shape 934">
            <a:extLst>
              <a:ext uri="{FF2B5EF4-FFF2-40B4-BE49-F238E27FC236}">
                <a16:creationId xmlns:a16="http://schemas.microsoft.com/office/drawing/2014/main" id="{570F6AC9-3623-4B08-B5A9-A23FAF8E2164}"/>
              </a:ext>
            </a:extLst>
          </p:cNvPr>
          <p:cNvSpPr/>
          <p:nvPr/>
        </p:nvSpPr>
        <p:spPr>
          <a:xfrm>
            <a:off x="3518568" y="2816301"/>
            <a:ext cx="934387" cy="2028484"/>
          </a:xfrm>
          <a:custGeom>
            <a:avLst/>
            <a:gdLst>
              <a:gd name="connsiteX0" fmla="*/ 1170617 w 1257209"/>
              <a:gd name="connsiteY0" fmla="*/ 842 h 2729305"/>
              <a:gd name="connsiteX1" fmla="*/ 1201478 w 1257209"/>
              <a:gd name="connsiteY1" fmla="*/ 38149 h 2729305"/>
              <a:gd name="connsiteX2" fmla="*/ 1192265 w 1257209"/>
              <a:gd name="connsiteY2" fmla="*/ 241734 h 2729305"/>
              <a:gd name="connsiteX3" fmla="*/ 1168314 w 1257209"/>
              <a:gd name="connsiteY3" fmla="*/ 494141 h 2729305"/>
              <a:gd name="connsiteX4" fmla="*/ 1200556 w 1257209"/>
              <a:gd name="connsiteY4" fmla="*/ 609290 h 2729305"/>
              <a:gd name="connsiteX5" fmla="*/ 1230035 w 1257209"/>
              <a:gd name="connsiteY5" fmla="*/ 646599 h 2729305"/>
              <a:gd name="connsiteX6" fmla="*/ 1257209 w 1257209"/>
              <a:gd name="connsiteY6" fmla="*/ 717531 h 2729305"/>
              <a:gd name="connsiteX7" fmla="*/ 1256760 w 1257209"/>
              <a:gd name="connsiteY7" fmla="*/ 2729305 h 2729305"/>
              <a:gd name="connsiteX8" fmla="*/ 831157 w 1257209"/>
              <a:gd name="connsiteY8" fmla="*/ 2729305 h 2729305"/>
              <a:gd name="connsiteX9" fmla="*/ 831157 w 1257209"/>
              <a:gd name="connsiteY9" fmla="*/ 2718365 h 2729305"/>
              <a:gd name="connsiteX10" fmla="*/ 887811 w 1257209"/>
              <a:gd name="connsiteY10" fmla="*/ 2050498 h 2729305"/>
              <a:gd name="connsiteX11" fmla="*/ 933870 w 1257209"/>
              <a:gd name="connsiteY11" fmla="*/ 1457250 h 2729305"/>
              <a:gd name="connsiteX12" fmla="*/ 953216 w 1257209"/>
              <a:gd name="connsiteY12" fmla="*/ 1149110 h 2729305"/>
              <a:gd name="connsiteX13" fmla="*/ 910380 w 1257209"/>
              <a:gd name="connsiteY13" fmla="*/ 992507 h 2729305"/>
              <a:gd name="connsiteX14" fmla="*/ 760686 w 1257209"/>
              <a:gd name="connsiteY14" fmla="*/ 824389 h 2729305"/>
              <a:gd name="connsiteX15" fmla="*/ 491698 w 1257209"/>
              <a:gd name="connsiteY15" fmla="*/ 626332 h 2729305"/>
              <a:gd name="connsiteX16" fmla="*/ 383457 w 1257209"/>
              <a:gd name="connsiteY16" fmla="*/ 547110 h 2729305"/>
              <a:gd name="connsiteX17" fmla="*/ 22348 w 1257209"/>
              <a:gd name="connsiteY17" fmla="*/ 263382 h 2729305"/>
              <a:gd name="connsiteX18" fmla="*/ 10833 w 1257209"/>
              <a:gd name="connsiteY18" fmla="*/ 254170 h 2729305"/>
              <a:gd name="connsiteX19" fmla="*/ 6688 w 1257209"/>
              <a:gd name="connsiteY19" fmla="*/ 210873 h 2729305"/>
              <a:gd name="connsiteX20" fmla="*/ 50905 w 1257209"/>
              <a:gd name="connsiteY20" fmla="*/ 203043 h 2729305"/>
              <a:gd name="connsiteX21" fmla="*/ 107558 w 1257209"/>
              <a:gd name="connsiteY21" fmla="*/ 244037 h 2729305"/>
              <a:gd name="connsiteX22" fmla="*/ 358585 w 1257209"/>
              <a:gd name="connsiteY22" fmla="*/ 426433 h 2729305"/>
              <a:gd name="connsiteX23" fmla="*/ 548351 w 1257209"/>
              <a:gd name="connsiteY23" fmla="*/ 498747 h 2729305"/>
              <a:gd name="connsiteX24" fmla="*/ 681924 w 1257209"/>
              <a:gd name="connsiteY24" fmla="*/ 510262 h 2729305"/>
              <a:gd name="connsiteX25" fmla="*/ 979009 w 1257209"/>
              <a:gd name="connsiteY25" fmla="*/ 441172 h 2729305"/>
              <a:gd name="connsiteX26" fmla="*/ 1012632 w 1257209"/>
              <a:gd name="connsiteY26" fmla="*/ 400639 h 2729305"/>
              <a:gd name="connsiteX27" fmla="*/ 1102909 w 1257209"/>
              <a:gd name="connsiteY27" fmla="*/ 92500 h 2729305"/>
              <a:gd name="connsiteX28" fmla="*/ 1140218 w 1257209"/>
              <a:gd name="connsiteY28" fmla="*/ 19266 h 2729305"/>
              <a:gd name="connsiteX29" fmla="*/ 1170617 w 1257209"/>
              <a:gd name="connsiteY29" fmla="*/ 842 h 2729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257209" h="2729305">
                <a:moveTo>
                  <a:pt x="1170617" y="842"/>
                </a:moveTo>
                <a:cubicBezTo>
                  <a:pt x="1190423" y="5908"/>
                  <a:pt x="1201938" y="18344"/>
                  <a:pt x="1201478" y="38149"/>
                </a:cubicBezTo>
                <a:cubicBezTo>
                  <a:pt x="1199174" y="105858"/>
                  <a:pt x="1196871" y="174026"/>
                  <a:pt x="1192265" y="241734"/>
                </a:cubicBezTo>
                <a:cubicBezTo>
                  <a:pt x="1185817" y="326023"/>
                  <a:pt x="1177987" y="410313"/>
                  <a:pt x="1168314" y="494141"/>
                </a:cubicBezTo>
                <a:cubicBezTo>
                  <a:pt x="1163247" y="537898"/>
                  <a:pt x="1175684" y="575206"/>
                  <a:pt x="1200556" y="609290"/>
                </a:cubicBezTo>
                <a:cubicBezTo>
                  <a:pt x="1209769" y="622187"/>
                  <a:pt x="1218980" y="635544"/>
                  <a:pt x="1230035" y="646599"/>
                </a:cubicBezTo>
                <a:cubicBezTo>
                  <a:pt x="1250300" y="666404"/>
                  <a:pt x="1257209" y="689434"/>
                  <a:pt x="1257209" y="717531"/>
                </a:cubicBezTo>
                <a:lnTo>
                  <a:pt x="1256760" y="2729305"/>
                </a:lnTo>
                <a:lnTo>
                  <a:pt x="831157" y="2729305"/>
                </a:lnTo>
                <a:lnTo>
                  <a:pt x="831157" y="2718365"/>
                </a:lnTo>
                <a:cubicBezTo>
                  <a:pt x="850042" y="2495896"/>
                  <a:pt x="869387" y="2272967"/>
                  <a:pt x="887811" y="2050498"/>
                </a:cubicBezTo>
                <a:cubicBezTo>
                  <a:pt x="903932" y="1852902"/>
                  <a:pt x="919132" y="1654846"/>
                  <a:pt x="933870" y="1457250"/>
                </a:cubicBezTo>
                <a:cubicBezTo>
                  <a:pt x="941240" y="1354536"/>
                  <a:pt x="945846" y="1251823"/>
                  <a:pt x="953216" y="1149110"/>
                </a:cubicBezTo>
                <a:cubicBezTo>
                  <a:pt x="957361" y="1091536"/>
                  <a:pt x="940779" y="1040409"/>
                  <a:pt x="910380" y="992507"/>
                </a:cubicBezTo>
                <a:cubicBezTo>
                  <a:pt x="869847" y="928023"/>
                  <a:pt x="816879" y="874594"/>
                  <a:pt x="760686" y="824389"/>
                </a:cubicBezTo>
                <a:cubicBezTo>
                  <a:pt x="676857" y="750233"/>
                  <a:pt x="585659" y="686671"/>
                  <a:pt x="491698" y="626332"/>
                </a:cubicBezTo>
                <a:cubicBezTo>
                  <a:pt x="454389" y="602381"/>
                  <a:pt x="418923" y="574746"/>
                  <a:pt x="383457" y="547110"/>
                </a:cubicBezTo>
                <a:cubicBezTo>
                  <a:pt x="262780" y="452687"/>
                  <a:pt x="142565" y="357804"/>
                  <a:pt x="22348" y="263382"/>
                </a:cubicBezTo>
                <a:cubicBezTo>
                  <a:pt x="18663" y="260158"/>
                  <a:pt x="14518" y="257394"/>
                  <a:pt x="10833" y="254170"/>
                </a:cubicBezTo>
                <a:cubicBezTo>
                  <a:pt x="-2063" y="241734"/>
                  <a:pt x="-3445" y="224231"/>
                  <a:pt x="6688" y="210873"/>
                </a:cubicBezTo>
                <a:cubicBezTo>
                  <a:pt x="16821" y="197056"/>
                  <a:pt x="35705" y="192910"/>
                  <a:pt x="50905" y="203043"/>
                </a:cubicBezTo>
                <a:cubicBezTo>
                  <a:pt x="70251" y="215940"/>
                  <a:pt x="88675" y="230680"/>
                  <a:pt x="107558" y="244037"/>
                </a:cubicBezTo>
                <a:cubicBezTo>
                  <a:pt x="191387" y="304835"/>
                  <a:pt x="276138" y="363792"/>
                  <a:pt x="358585" y="426433"/>
                </a:cubicBezTo>
                <a:cubicBezTo>
                  <a:pt x="415238" y="469729"/>
                  <a:pt x="479261" y="490456"/>
                  <a:pt x="548351" y="498747"/>
                </a:cubicBezTo>
                <a:cubicBezTo>
                  <a:pt x="592567" y="504275"/>
                  <a:pt x="637246" y="507499"/>
                  <a:pt x="681924" y="510262"/>
                </a:cubicBezTo>
                <a:cubicBezTo>
                  <a:pt x="787861" y="517632"/>
                  <a:pt x="884586" y="483547"/>
                  <a:pt x="979009" y="441172"/>
                </a:cubicBezTo>
                <a:cubicBezTo>
                  <a:pt x="997894" y="432881"/>
                  <a:pt x="1007105" y="421367"/>
                  <a:pt x="1012632" y="400639"/>
                </a:cubicBezTo>
                <a:cubicBezTo>
                  <a:pt x="1041189" y="297466"/>
                  <a:pt x="1071128" y="194753"/>
                  <a:pt x="1102909" y="92500"/>
                </a:cubicBezTo>
                <a:cubicBezTo>
                  <a:pt x="1110740" y="66706"/>
                  <a:pt x="1126400" y="42756"/>
                  <a:pt x="1140218" y="19266"/>
                </a:cubicBezTo>
                <a:cubicBezTo>
                  <a:pt x="1146205" y="8672"/>
                  <a:pt x="1154957" y="-3304"/>
                  <a:pt x="1170617" y="842"/>
                </a:cubicBezTo>
                <a:close/>
              </a:path>
            </a:pathLst>
          </a:custGeom>
          <a:solidFill>
            <a:schemeClr val="accent3"/>
          </a:solidFill>
          <a:ln w="372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215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4475" y="170923"/>
            <a:ext cx="9140694" cy="581834"/>
          </a:xfrm>
        </p:spPr>
        <p:txBody>
          <a:bodyPr>
            <a:normAutofit/>
          </a:bodyPr>
          <a:lstStyle/>
          <a:p>
            <a:pPr algn="l">
              <a:spcBef>
                <a:spcPct val="20000"/>
              </a:spcBef>
              <a:buClr>
                <a:schemeClr val="accent6"/>
              </a:buClr>
              <a:buSzPct val="100000"/>
            </a:pPr>
            <a:r>
              <a:rPr lang="cs-CZ" sz="1500" b="0" cap="all" dirty="0">
                <a:solidFill>
                  <a:schemeClr val="tx2"/>
                </a:solidFill>
                <a:latin typeface="Gotham Rounded Book" pitchFamily="50" charset="-18"/>
                <a:ea typeface="+mn-ea"/>
                <a:cs typeface="+mn-cs"/>
              </a:rPr>
              <a:t>Jak přistupujeme k trhu</a:t>
            </a:r>
            <a:endParaRPr lang="en-US" sz="1500" b="0" cap="all" dirty="0">
              <a:solidFill>
                <a:schemeClr val="tx2"/>
              </a:solidFill>
              <a:latin typeface="Gotham Rounded Book" pitchFamily="50" charset="-18"/>
              <a:ea typeface="+mn-ea"/>
              <a:cs typeface="+mn-cs"/>
            </a:endParaRPr>
          </a:p>
        </p:txBody>
      </p:sp>
      <p:sp>
        <p:nvSpPr>
          <p:cNvPr id="53" name="Text Placeholder 52"/>
          <p:cNvSpPr>
            <a:spLocks noGrp="1"/>
          </p:cNvSpPr>
          <p:nvPr>
            <p:ph type="body" sz="quarter" idx="41"/>
          </p:nvPr>
        </p:nvSpPr>
        <p:spPr>
          <a:xfrm>
            <a:off x="98416" y="633563"/>
            <a:ext cx="8602326" cy="283080"/>
          </a:xfrm>
        </p:spPr>
        <p:txBody>
          <a:bodyPr/>
          <a:lstStyle/>
          <a:p>
            <a:pPr algn="l" defTabSz="457067" latinLnBrk="0"/>
            <a:r>
              <a:rPr lang="cs-CZ" sz="1200" dirty="0" smtClean="0">
                <a:solidFill>
                  <a:schemeClr val="accent1">
                    <a:lumMod val="75000"/>
                  </a:schemeClr>
                </a:solidFill>
                <a:latin typeface="Gotham Rounded Book" pitchFamily="50" charset="-18"/>
              </a:rPr>
              <a:t>ANEB MOTIVACE ZÁKAZNÍKŮ PRO OBLAST IOT</a:t>
            </a:r>
            <a:endParaRPr lang="en-US" sz="1200" dirty="0">
              <a:solidFill>
                <a:schemeClr val="accent1">
                  <a:lumMod val="75000"/>
                </a:schemeClr>
              </a:solidFill>
              <a:latin typeface="Gotham Rounded Book" pitchFamily="50" charset="-18"/>
            </a:endParaRPr>
          </a:p>
        </p:txBody>
      </p:sp>
      <p:grpSp>
        <p:nvGrpSpPr>
          <p:cNvPr id="936" name="Group 935">
            <a:extLst>
              <a:ext uri="{FF2B5EF4-FFF2-40B4-BE49-F238E27FC236}">
                <a16:creationId xmlns:a16="http://schemas.microsoft.com/office/drawing/2014/main" id="{7041875D-FB35-41BF-9492-E15BD6C9C9B9}"/>
              </a:ext>
            </a:extLst>
          </p:cNvPr>
          <p:cNvGrpSpPr/>
          <p:nvPr/>
        </p:nvGrpSpPr>
        <p:grpSpPr>
          <a:xfrm>
            <a:off x="2980951" y="1403116"/>
            <a:ext cx="3120992" cy="2245092"/>
            <a:chOff x="3784154" y="1759234"/>
            <a:chExt cx="4623692" cy="3326062"/>
          </a:xfrm>
          <a:solidFill>
            <a:schemeClr val="accent1"/>
          </a:solidFill>
        </p:grpSpPr>
        <p:sp>
          <p:nvSpPr>
            <p:cNvPr id="937" name="Freeform: Shape 936">
              <a:extLst>
                <a:ext uri="{FF2B5EF4-FFF2-40B4-BE49-F238E27FC236}">
                  <a16:creationId xmlns:a16="http://schemas.microsoft.com/office/drawing/2014/main" id="{83DC6CD2-6417-40BC-AD4B-E445BBE3792E}"/>
                </a:ext>
              </a:extLst>
            </p:cNvPr>
            <p:cNvSpPr/>
            <p:nvPr/>
          </p:nvSpPr>
          <p:spPr>
            <a:xfrm>
              <a:off x="8068055" y="4002915"/>
              <a:ext cx="339791" cy="157217"/>
            </a:xfrm>
            <a:custGeom>
              <a:avLst/>
              <a:gdLst>
                <a:gd name="connsiteX0" fmla="*/ 250770 w 250396"/>
                <a:gd name="connsiteY0" fmla="*/ 80316 h 115854"/>
                <a:gd name="connsiteX1" fmla="*/ 153975 w 250396"/>
                <a:gd name="connsiteY1" fmla="*/ 108346 h 115854"/>
                <a:gd name="connsiteX2" fmla="*/ 117350 w 250396"/>
                <a:gd name="connsiteY2" fmla="*/ 115073 h 115854"/>
                <a:gd name="connsiteX3" fmla="*/ 0 w 250396"/>
                <a:gd name="connsiteY3" fmla="*/ 59388 h 115854"/>
                <a:gd name="connsiteX4" fmla="*/ 173035 w 250396"/>
                <a:gd name="connsiteY4" fmla="*/ 71721 h 115854"/>
                <a:gd name="connsiteX5" fmla="*/ 173782 w 250396"/>
                <a:gd name="connsiteY5" fmla="*/ 66489 h 115854"/>
                <a:gd name="connsiteX6" fmla="*/ 1869 w 250396"/>
                <a:gd name="connsiteY6" fmla="*/ 32480 h 115854"/>
                <a:gd name="connsiteX7" fmla="*/ 118471 w 250396"/>
                <a:gd name="connsiteY7" fmla="*/ 5198 h 115854"/>
                <a:gd name="connsiteX8" fmla="*/ 234700 w 250396"/>
                <a:gd name="connsiteY8" fmla="*/ 67610 h 115854"/>
                <a:gd name="connsiteX9" fmla="*/ 250770 w 250396"/>
                <a:gd name="connsiteY9" fmla="*/ 77700 h 115854"/>
                <a:gd name="connsiteX10" fmla="*/ 250770 w 250396"/>
                <a:gd name="connsiteY10" fmla="*/ 80316 h 115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0396" h="115854">
                  <a:moveTo>
                    <a:pt x="250770" y="80316"/>
                  </a:moveTo>
                  <a:cubicBezTo>
                    <a:pt x="218629" y="89660"/>
                    <a:pt x="186489" y="99377"/>
                    <a:pt x="153975" y="108346"/>
                  </a:cubicBezTo>
                  <a:cubicBezTo>
                    <a:pt x="142016" y="111710"/>
                    <a:pt x="129683" y="113204"/>
                    <a:pt x="117350" y="115073"/>
                  </a:cubicBezTo>
                  <a:cubicBezTo>
                    <a:pt x="70261" y="121053"/>
                    <a:pt x="25787" y="99377"/>
                    <a:pt x="0" y="59388"/>
                  </a:cubicBezTo>
                  <a:cubicBezTo>
                    <a:pt x="57180" y="63499"/>
                    <a:pt x="115108" y="67610"/>
                    <a:pt x="173035" y="71721"/>
                  </a:cubicBezTo>
                  <a:cubicBezTo>
                    <a:pt x="173409" y="69852"/>
                    <a:pt x="173409" y="68357"/>
                    <a:pt x="173782" y="66489"/>
                  </a:cubicBezTo>
                  <a:cubicBezTo>
                    <a:pt x="116976" y="55277"/>
                    <a:pt x="60170" y="44065"/>
                    <a:pt x="1869" y="32480"/>
                  </a:cubicBezTo>
                  <a:cubicBezTo>
                    <a:pt x="37373" y="7814"/>
                    <a:pt x="73998" y="-9004"/>
                    <a:pt x="118471" y="5198"/>
                  </a:cubicBezTo>
                  <a:cubicBezTo>
                    <a:pt x="161076" y="19026"/>
                    <a:pt x="198075" y="43318"/>
                    <a:pt x="234700" y="67610"/>
                  </a:cubicBezTo>
                  <a:cubicBezTo>
                    <a:pt x="239932" y="70973"/>
                    <a:pt x="245538" y="74337"/>
                    <a:pt x="250770" y="77700"/>
                  </a:cubicBezTo>
                  <a:cubicBezTo>
                    <a:pt x="250770" y="78448"/>
                    <a:pt x="250770" y="79569"/>
                    <a:pt x="250770" y="80316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38" name="Freeform: Shape 937">
              <a:extLst>
                <a:ext uri="{FF2B5EF4-FFF2-40B4-BE49-F238E27FC236}">
                  <a16:creationId xmlns:a16="http://schemas.microsoft.com/office/drawing/2014/main" id="{A32C6445-60E8-4481-85AC-62087B16B7B4}"/>
                </a:ext>
              </a:extLst>
            </p:cNvPr>
            <p:cNvSpPr/>
            <p:nvPr/>
          </p:nvSpPr>
          <p:spPr>
            <a:xfrm>
              <a:off x="5596698" y="2945459"/>
              <a:ext cx="355005" cy="816512"/>
            </a:xfrm>
            <a:custGeom>
              <a:avLst/>
              <a:gdLst>
                <a:gd name="connsiteX0" fmla="*/ 133056 w 261607"/>
                <a:gd name="connsiteY0" fmla="*/ 0 h 601698"/>
                <a:gd name="connsiteX1" fmla="*/ 185377 w 261607"/>
                <a:gd name="connsiteY1" fmla="*/ 109502 h 601698"/>
                <a:gd name="connsiteX2" fmla="*/ 257880 w 261607"/>
                <a:gd name="connsiteY2" fmla="*/ 315424 h 601698"/>
                <a:gd name="connsiteX3" fmla="*/ 225740 w 261607"/>
                <a:gd name="connsiteY3" fmla="*/ 515741 h 601698"/>
                <a:gd name="connsiteX4" fmla="*/ 160711 w 261607"/>
                <a:gd name="connsiteY4" fmla="*/ 603193 h 601698"/>
                <a:gd name="connsiteX5" fmla="*/ 132682 w 261607"/>
                <a:gd name="connsiteY5" fmla="*/ 169298 h 601698"/>
                <a:gd name="connsiteX6" fmla="*/ 107642 w 261607"/>
                <a:gd name="connsiteY6" fmla="*/ 604314 h 601698"/>
                <a:gd name="connsiteX7" fmla="*/ 97925 w 261607"/>
                <a:gd name="connsiteY7" fmla="*/ 595719 h 601698"/>
                <a:gd name="connsiteX8" fmla="*/ 4494 w 261607"/>
                <a:gd name="connsiteY8" fmla="*/ 425673 h 601698"/>
                <a:gd name="connsiteX9" fmla="*/ 11221 w 261607"/>
                <a:gd name="connsiteY9" fmla="*/ 300475 h 601698"/>
                <a:gd name="connsiteX10" fmla="*/ 133056 w 261607"/>
                <a:gd name="connsiteY10" fmla="*/ 0 h 601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61607" h="601698">
                  <a:moveTo>
                    <a:pt x="133056" y="0"/>
                  </a:moveTo>
                  <a:cubicBezTo>
                    <a:pt x="151742" y="38867"/>
                    <a:pt x="169307" y="73998"/>
                    <a:pt x="185377" y="109502"/>
                  </a:cubicBezTo>
                  <a:cubicBezTo>
                    <a:pt x="215275" y="176025"/>
                    <a:pt x="241436" y="244043"/>
                    <a:pt x="257880" y="315424"/>
                  </a:cubicBezTo>
                  <a:cubicBezTo>
                    <a:pt x="274324" y="386806"/>
                    <a:pt x="263486" y="453703"/>
                    <a:pt x="225740" y="515741"/>
                  </a:cubicBezTo>
                  <a:cubicBezTo>
                    <a:pt x="207053" y="546387"/>
                    <a:pt x="184256" y="574790"/>
                    <a:pt x="160711" y="603193"/>
                  </a:cubicBezTo>
                  <a:cubicBezTo>
                    <a:pt x="162954" y="457066"/>
                    <a:pt x="147631" y="313182"/>
                    <a:pt x="132682" y="169298"/>
                  </a:cubicBezTo>
                  <a:cubicBezTo>
                    <a:pt x="118107" y="313182"/>
                    <a:pt x="102036" y="456693"/>
                    <a:pt x="107642" y="604314"/>
                  </a:cubicBezTo>
                  <a:cubicBezTo>
                    <a:pt x="103158" y="600203"/>
                    <a:pt x="100168" y="598335"/>
                    <a:pt x="97925" y="595719"/>
                  </a:cubicBezTo>
                  <a:cubicBezTo>
                    <a:pt x="53826" y="546013"/>
                    <a:pt x="18322" y="491823"/>
                    <a:pt x="4494" y="425673"/>
                  </a:cubicBezTo>
                  <a:cubicBezTo>
                    <a:pt x="-4475" y="383069"/>
                    <a:pt x="1131" y="341585"/>
                    <a:pt x="11221" y="300475"/>
                  </a:cubicBezTo>
                  <a:cubicBezTo>
                    <a:pt x="37008" y="195832"/>
                    <a:pt x="82229" y="99411"/>
                    <a:pt x="133056" y="0"/>
                  </a:cubicBezTo>
                  <a:close/>
                </a:path>
              </a:pathLst>
            </a:custGeom>
            <a:solidFill>
              <a:srgbClr val="0070C0"/>
            </a:solidFill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39" name="Freeform: Shape 938">
              <a:extLst>
                <a:ext uri="{FF2B5EF4-FFF2-40B4-BE49-F238E27FC236}">
                  <a16:creationId xmlns:a16="http://schemas.microsoft.com/office/drawing/2014/main" id="{BFBF71AD-EB07-4686-B819-E18E93E347F9}"/>
                </a:ext>
              </a:extLst>
            </p:cNvPr>
            <p:cNvSpPr/>
            <p:nvPr/>
          </p:nvSpPr>
          <p:spPr>
            <a:xfrm>
              <a:off x="6234879" y="2947995"/>
              <a:ext cx="355005" cy="816512"/>
            </a:xfrm>
            <a:custGeom>
              <a:avLst/>
              <a:gdLst>
                <a:gd name="connsiteX0" fmla="*/ 157959 w 261607"/>
                <a:gd name="connsiteY0" fmla="*/ 600203 h 601698"/>
                <a:gd name="connsiteX1" fmla="*/ 132919 w 261607"/>
                <a:gd name="connsiteY1" fmla="*/ 167803 h 601698"/>
                <a:gd name="connsiteX2" fmla="*/ 107879 w 261607"/>
                <a:gd name="connsiteY2" fmla="*/ 599830 h 601698"/>
                <a:gd name="connsiteX3" fmla="*/ 104890 w 261607"/>
                <a:gd name="connsiteY3" fmla="*/ 600203 h 601698"/>
                <a:gd name="connsiteX4" fmla="*/ 2862 w 261607"/>
                <a:gd name="connsiteY4" fmla="*/ 413714 h 601698"/>
                <a:gd name="connsiteX5" fmla="*/ 13327 w 261607"/>
                <a:gd name="connsiteY5" fmla="*/ 290011 h 601698"/>
                <a:gd name="connsiteX6" fmla="*/ 128808 w 261607"/>
                <a:gd name="connsiteY6" fmla="*/ 6727 h 601698"/>
                <a:gd name="connsiteX7" fmla="*/ 134040 w 261607"/>
                <a:gd name="connsiteY7" fmla="*/ 0 h 601698"/>
                <a:gd name="connsiteX8" fmla="*/ 189351 w 261607"/>
                <a:gd name="connsiteY8" fmla="*/ 116976 h 601698"/>
                <a:gd name="connsiteX9" fmla="*/ 259612 w 261607"/>
                <a:gd name="connsiteY9" fmla="*/ 325141 h 601698"/>
                <a:gd name="connsiteX10" fmla="*/ 228219 w 261607"/>
                <a:gd name="connsiteY10" fmla="*/ 508640 h 601698"/>
                <a:gd name="connsiteX11" fmla="*/ 163564 w 261607"/>
                <a:gd name="connsiteY11" fmla="*/ 602819 h 601698"/>
                <a:gd name="connsiteX12" fmla="*/ 157959 w 261607"/>
                <a:gd name="connsiteY12" fmla="*/ 600203 h 601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1607" h="601698">
                  <a:moveTo>
                    <a:pt x="157959" y="600203"/>
                  </a:moveTo>
                  <a:cubicBezTo>
                    <a:pt x="163191" y="455198"/>
                    <a:pt x="147494" y="311687"/>
                    <a:pt x="132919" y="167803"/>
                  </a:cubicBezTo>
                  <a:cubicBezTo>
                    <a:pt x="117970" y="311313"/>
                    <a:pt x="102273" y="454824"/>
                    <a:pt x="107879" y="599830"/>
                  </a:cubicBezTo>
                  <a:cubicBezTo>
                    <a:pt x="106384" y="600203"/>
                    <a:pt x="105263" y="600577"/>
                    <a:pt x="104890" y="600203"/>
                  </a:cubicBezTo>
                  <a:cubicBezTo>
                    <a:pt x="54437" y="547134"/>
                    <a:pt x="15569" y="487712"/>
                    <a:pt x="2862" y="413714"/>
                  </a:cubicBezTo>
                  <a:cubicBezTo>
                    <a:pt x="-4238" y="371483"/>
                    <a:pt x="2862" y="330373"/>
                    <a:pt x="13327" y="290011"/>
                  </a:cubicBezTo>
                  <a:cubicBezTo>
                    <a:pt x="39488" y="190600"/>
                    <a:pt x="81718" y="97542"/>
                    <a:pt x="128808" y="6727"/>
                  </a:cubicBezTo>
                  <a:cubicBezTo>
                    <a:pt x="129555" y="5232"/>
                    <a:pt x="131050" y="3737"/>
                    <a:pt x="134040" y="0"/>
                  </a:cubicBezTo>
                  <a:cubicBezTo>
                    <a:pt x="153100" y="39989"/>
                    <a:pt x="171786" y="78109"/>
                    <a:pt x="189351" y="116976"/>
                  </a:cubicBezTo>
                  <a:cubicBezTo>
                    <a:pt x="219249" y="184247"/>
                    <a:pt x="245037" y="252638"/>
                    <a:pt x="259612" y="325141"/>
                  </a:cubicBezTo>
                  <a:cubicBezTo>
                    <a:pt x="272692" y="390543"/>
                    <a:pt x="261854" y="451834"/>
                    <a:pt x="228219" y="508640"/>
                  </a:cubicBezTo>
                  <a:cubicBezTo>
                    <a:pt x="208785" y="541528"/>
                    <a:pt x="185240" y="571426"/>
                    <a:pt x="163564" y="602819"/>
                  </a:cubicBezTo>
                  <a:cubicBezTo>
                    <a:pt x="161696" y="602072"/>
                    <a:pt x="159827" y="600951"/>
                    <a:pt x="157959" y="600203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40" name="Freeform: Shape 939">
              <a:extLst>
                <a:ext uri="{FF2B5EF4-FFF2-40B4-BE49-F238E27FC236}">
                  <a16:creationId xmlns:a16="http://schemas.microsoft.com/office/drawing/2014/main" id="{DD71FE5E-5800-45E4-908E-214D0CCAE35A}"/>
                </a:ext>
              </a:extLst>
            </p:cNvPr>
            <p:cNvSpPr/>
            <p:nvPr/>
          </p:nvSpPr>
          <p:spPr>
            <a:xfrm>
              <a:off x="3797340" y="3458189"/>
              <a:ext cx="684653" cy="507151"/>
            </a:xfrm>
            <a:custGeom>
              <a:avLst/>
              <a:gdLst>
                <a:gd name="connsiteX0" fmla="*/ 2242 w 504529"/>
                <a:gd name="connsiteY0" fmla="*/ 0 h 373725"/>
                <a:gd name="connsiteX1" fmla="*/ 117724 w 504529"/>
                <a:gd name="connsiteY1" fmla="*/ 19808 h 373725"/>
                <a:gd name="connsiteX2" fmla="*/ 312808 w 504529"/>
                <a:gd name="connsiteY2" fmla="*/ 72876 h 373725"/>
                <a:gd name="connsiteX3" fmla="*/ 487338 w 504529"/>
                <a:gd name="connsiteY3" fmla="*/ 255628 h 373725"/>
                <a:gd name="connsiteX4" fmla="*/ 506024 w 504529"/>
                <a:gd name="connsiteY4" fmla="*/ 324768 h 373725"/>
                <a:gd name="connsiteX5" fmla="*/ 138652 w 504529"/>
                <a:gd name="connsiteY5" fmla="*/ 96421 h 373725"/>
                <a:gd name="connsiteX6" fmla="*/ 136410 w 504529"/>
                <a:gd name="connsiteY6" fmla="*/ 99411 h 373725"/>
                <a:gd name="connsiteX7" fmla="*/ 245538 w 504529"/>
                <a:gd name="connsiteY7" fmla="*/ 191721 h 373725"/>
                <a:gd name="connsiteX8" fmla="*/ 359150 w 504529"/>
                <a:gd name="connsiteY8" fmla="*/ 283284 h 373725"/>
                <a:gd name="connsiteX9" fmla="*/ 476874 w 504529"/>
                <a:gd name="connsiteY9" fmla="*/ 369241 h 373725"/>
                <a:gd name="connsiteX10" fmla="*/ 187610 w 504529"/>
                <a:gd name="connsiteY10" fmla="*/ 287021 h 373725"/>
                <a:gd name="connsiteX11" fmla="*/ 42978 w 504529"/>
                <a:gd name="connsiteY11" fmla="*/ 81472 h 373725"/>
                <a:gd name="connsiteX12" fmla="*/ 0 w 504529"/>
                <a:gd name="connsiteY12" fmla="*/ 4111 h 373725"/>
                <a:gd name="connsiteX13" fmla="*/ 2242 w 504529"/>
                <a:gd name="connsiteY13" fmla="*/ 0 h 373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4529" h="373725">
                  <a:moveTo>
                    <a:pt x="2242" y="0"/>
                  </a:moveTo>
                  <a:cubicBezTo>
                    <a:pt x="40736" y="6353"/>
                    <a:pt x="79604" y="12333"/>
                    <a:pt x="117724" y="19808"/>
                  </a:cubicBezTo>
                  <a:cubicBezTo>
                    <a:pt x="184247" y="32140"/>
                    <a:pt x="249275" y="49706"/>
                    <a:pt x="312808" y="72876"/>
                  </a:cubicBezTo>
                  <a:cubicBezTo>
                    <a:pt x="401381" y="105391"/>
                    <a:pt x="457440" y="168177"/>
                    <a:pt x="487338" y="255628"/>
                  </a:cubicBezTo>
                  <a:cubicBezTo>
                    <a:pt x="494813" y="278052"/>
                    <a:pt x="500792" y="301223"/>
                    <a:pt x="506024" y="324768"/>
                  </a:cubicBezTo>
                  <a:cubicBezTo>
                    <a:pt x="389422" y="238063"/>
                    <a:pt x="263103" y="168550"/>
                    <a:pt x="138652" y="96421"/>
                  </a:cubicBezTo>
                  <a:cubicBezTo>
                    <a:pt x="137905" y="97542"/>
                    <a:pt x="137157" y="98290"/>
                    <a:pt x="136410" y="99411"/>
                  </a:cubicBezTo>
                  <a:cubicBezTo>
                    <a:pt x="172661" y="130430"/>
                    <a:pt x="208539" y="161449"/>
                    <a:pt x="245538" y="191721"/>
                  </a:cubicBezTo>
                  <a:cubicBezTo>
                    <a:pt x="282910" y="222740"/>
                    <a:pt x="320657" y="253760"/>
                    <a:pt x="359150" y="283284"/>
                  </a:cubicBezTo>
                  <a:cubicBezTo>
                    <a:pt x="397270" y="312435"/>
                    <a:pt x="436511" y="339717"/>
                    <a:pt x="476874" y="369241"/>
                  </a:cubicBezTo>
                  <a:cubicBezTo>
                    <a:pt x="367746" y="382321"/>
                    <a:pt x="266840" y="373352"/>
                    <a:pt x="187610" y="287021"/>
                  </a:cubicBezTo>
                  <a:cubicBezTo>
                    <a:pt x="130430" y="224983"/>
                    <a:pt x="85209" y="154349"/>
                    <a:pt x="42978" y="81472"/>
                  </a:cubicBezTo>
                  <a:cubicBezTo>
                    <a:pt x="28029" y="56806"/>
                    <a:pt x="14202" y="30272"/>
                    <a:pt x="0" y="4111"/>
                  </a:cubicBezTo>
                  <a:cubicBezTo>
                    <a:pt x="747" y="2990"/>
                    <a:pt x="1495" y="1495"/>
                    <a:pt x="2242" y="0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41" name="Freeform: Shape 940">
              <a:extLst>
                <a:ext uri="{FF2B5EF4-FFF2-40B4-BE49-F238E27FC236}">
                  <a16:creationId xmlns:a16="http://schemas.microsoft.com/office/drawing/2014/main" id="{D8C0E67D-44F4-43EF-AC3E-ED78DC413BC6}"/>
                </a:ext>
              </a:extLst>
            </p:cNvPr>
            <p:cNvSpPr/>
            <p:nvPr/>
          </p:nvSpPr>
          <p:spPr>
            <a:xfrm>
              <a:off x="7708991" y="3460499"/>
              <a:ext cx="684653" cy="502079"/>
            </a:xfrm>
            <a:custGeom>
              <a:avLst/>
              <a:gdLst>
                <a:gd name="connsiteX0" fmla="*/ 366251 w 504529"/>
                <a:gd name="connsiteY0" fmla="*/ 94719 h 369988"/>
                <a:gd name="connsiteX1" fmla="*/ 180509 w 504529"/>
                <a:gd name="connsiteY1" fmla="*/ 204220 h 369988"/>
                <a:gd name="connsiteX2" fmla="*/ 0 w 504529"/>
                <a:gd name="connsiteY2" fmla="*/ 321196 h 369988"/>
                <a:gd name="connsiteX3" fmla="*/ 747 w 504529"/>
                <a:gd name="connsiteY3" fmla="*/ 312227 h 369988"/>
                <a:gd name="connsiteX4" fmla="*/ 26161 w 504529"/>
                <a:gd name="connsiteY4" fmla="*/ 232997 h 369988"/>
                <a:gd name="connsiteX5" fmla="*/ 187237 w 504529"/>
                <a:gd name="connsiteY5" fmla="*/ 73416 h 369988"/>
                <a:gd name="connsiteX6" fmla="*/ 496681 w 504529"/>
                <a:gd name="connsiteY6" fmla="*/ 166 h 369988"/>
                <a:gd name="connsiteX7" fmla="*/ 504530 w 504529"/>
                <a:gd name="connsiteY7" fmla="*/ 166 h 369988"/>
                <a:gd name="connsiteX8" fmla="*/ 502661 w 504529"/>
                <a:gd name="connsiteY8" fmla="*/ 6146 h 369988"/>
                <a:gd name="connsiteX9" fmla="*/ 341585 w 504529"/>
                <a:gd name="connsiteY9" fmla="*/ 259905 h 369988"/>
                <a:gd name="connsiteX10" fmla="*/ 58675 w 504529"/>
                <a:gd name="connsiteY10" fmla="*/ 371276 h 369988"/>
                <a:gd name="connsiteX11" fmla="*/ 26161 w 504529"/>
                <a:gd name="connsiteY11" fmla="*/ 367912 h 369988"/>
                <a:gd name="connsiteX12" fmla="*/ 369241 w 504529"/>
                <a:gd name="connsiteY12" fmla="*/ 98082 h 369988"/>
                <a:gd name="connsiteX13" fmla="*/ 366251 w 504529"/>
                <a:gd name="connsiteY13" fmla="*/ 94719 h 36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04529" h="369988">
                  <a:moveTo>
                    <a:pt x="366251" y="94719"/>
                  </a:moveTo>
                  <a:cubicBezTo>
                    <a:pt x="304213" y="130970"/>
                    <a:pt x="241800" y="166474"/>
                    <a:pt x="180509" y="204220"/>
                  </a:cubicBezTo>
                  <a:cubicBezTo>
                    <a:pt x="119219" y="241967"/>
                    <a:pt x="59796" y="282329"/>
                    <a:pt x="0" y="321196"/>
                  </a:cubicBezTo>
                  <a:cubicBezTo>
                    <a:pt x="0" y="319701"/>
                    <a:pt x="0" y="315590"/>
                    <a:pt x="747" y="312227"/>
                  </a:cubicBezTo>
                  <a:cubicBezTo>
                    <a:pt x="8970" y="285692"/>
                    <a:pt x="16070" y="258784"/>
                    <a:pt x="26161" y="232997"/>
                  </a:cubicBezTo>
                  <a:cubicBezTo>
                    <a:pt x="56059" y="156383"/>
                    <a:pt x="109502" y="102941"/>
                    <a:pt x="187237" y="73416"/>
                  </a:cubicBezTo>
                  <a:cubicBezTo>
                    <a:pt x="287021" y="34923"/>
                    <a:pt x="391291" y="15115"/>
                    <a:pt x="496681" y="166"/>
                  </a:cubicBezTo>
                  <a:cubicBezTo>
                    <a:pt x="498924" y="-208"/>
                    <a:pt x="501540" y="166"/>
                    <a:pt x="504530" y="166"/>
                  </a:cubicBezTo>
                  <a:cubicBezTo>
                    <a:pt x="503782" y="2782"/>
                    <a:pt x="503782" y="4651"/>
                    <a:pt x="502661" y="6146"/>
                  </a:cubicBezTo>
                  <a:cubicBezTo>
                    <a:pt x="456319" y="95092"/>
                    <a:pt x="403997" y="180676"/>
                    <a:pt x="341585" y="259905"/>
                  </a:cubicBezTo>
                  <a:cubicBezTo>
                    <a:pt x="268335" y="352963"/>
                    <a:pt x="171914" y="382114"/>
                    <a:pt x="58675" y="371276"/>
                  </a:cubicBezTo>
                  <a:cubicBezTo>
                    <a:pt x="48958" y="370528"/>
                    <a:pt x="39241" y="369033"/>
                    <a:pt x="26161" y="367912"/>
                  </a:cubicBezTo>
                  <a:cubicBezTo>
                    <a:pt x="150985" y="287187"/>
                    <a:pt x="258992" y="191140"/>
                    <a:pt x="369241" y="98082"/>
                  </a:cubicBezTo>
                  <a:cubicBezTo>
                    <a:pt x="368120" y="96961"/>
                    <a:pt x="366999" y="95840"/>
                    <a:pt x="366251" y="94719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42" name="Freeform: Shape 941">
              <a:extLst>
                <a:ext uri="{FF2B5EF4-FFF2-40B4-BE49-F238E27FC236}">
                  <a16:creationId xmlns:a16="http://schemas.microsoft.com/office/drawing/2014/main" id="{F9ED6556-7704-41C5-B2D2-9B7A45C32C5A}"/>
                </a:ext>
              </a:extLst>
            </p:cNvPr>
            <p:cNvSpPr/>
            <p:nvPr/>
          </p:nvSpPr>
          <p:spPr>
            <a:xfrm>
              <a:off x="5755131" y="2039181"/>
              <a:ext cx="355005" cy="816512"/>
            </a:xfrm>
            <a:custGeom>
              <a:avLst/>
              <a:gdLst>
                <a:gd name="connsiteX0" fmla="*/ 154957 w 261607"/>
                <a:gd name="connsiteY0" fmla="*/ 602072 h 601698"/>
                <a:gd name="connsiteX1" fmla="*/ 135897 w 261607"/>
                <a:gd name="connsiteY1" fmla="*/ 168924 h 601698"/>
                <a:gd name="connsiteX2" fmla="*/ 104878 w 261607"/>
                <a:gd name="connsiteY2" fmla="*/ 602819 h 601698"/>
                <a:gd name="connsiteX3" fmla="*/ 89929 w 261607"/>
                <a:gd name="connsiteY3" fmla="*/ 586002 h 601698"/>
                <a:gd name="connsiteX4" fmla="*/ 3225 w 261607"/>
                <a:gd name="connsiteY4" fmla="*/ 417078 h 601698"/>
                <a:gd name="connsiteX5" fmla="*/ 16679 w 261607"/>
                <a:gd name="connsiteY5" fmla="*/ 278799 h 601698"/>
                <a:gd name="connsiteX6" fmla="*/ 134402 w 261607"/>
                <a:gd name="connsiteY6" fmla="*/ 4111 h 601698"/>
                <a:gd name="connsiteX7" fmla="*/ 137766 w 261607"/>
                <a:gd name="connsiteY7" fmla="*/ 0 h 601698"/>
                <a:gd name="connsiteX8" fmla="*/ 140382 w 261607"/>
                <a:gd name="connsiteY8" fmla="*/ 3737 h 601698"/>
                <a:gd name="connsiteX9" fmla="*/ 254742 w 261607"/>
                <a:gd name="connsiteY9" fmla="*/ 297112 h 601698"/>
                <a:gd name="connsiteX10" fmla="*/ 185976 w 261607"/>
                <a:gd name="connsiteY10" fmla="*/ 567315 h 601698"/>
                <a:gd name="connsiteX11" fmla="*/ 160189 w 261607"/>
                <a:gd name="connsiteY11" fmla="*/ 596466 h 601698"/>
                <a:gd name="connsiteX12" fmla="*/ 154957 w 261607"/>
                <a:gd name="connsiteY12" fmla="*/ 602072 h 6016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1607" h="601698">
                  <a:moveTo>
                    <a:pt x="154957" y="602072"/>
                  </a:moveTo>
                  <a:cubicBezTo>
                    <a:pt x="162805" y="455571"/>
                    <a:pt x="148604" y="312435"/>
                    <a:pt x="135897" y="168924"/>
                  </a:cubicBezTo>
                  <a:cubicBezTo>
                    <a:pt x="119079" y="312061"/>
                    <a:pt x="101141" y="455198"/>
                    <a:pt x="104878" y="602819"/>
                  </a:cubicBezTo>
                  <a:cubicBezTo>
                    <a:pt x="98898" y="596092"/>
                    <a:pt x="94414" y="591234"/>
                    <a:pt x="89929" y="586002"/>
                  </a:cubicBezTo>
                  <a:cubicBezTo>
                    <a:pt x="48072" y="536296"/>
                    <a:pt x="14810" y="482106"/>
                    <a:pt x="3225" y="417078"/>
                  </a:cubicBezTo>
                  <a:cubicBezTo>
                    <a:pt x="-4997" y="369615"/>
                    <a:pt x="3598" y="324020"/>
                    <a:pt x="16679" y="278799"/>
                  </a:cubicBezTo>
                  <a:cubicBezTo>
                    <a:pt x="44708" y="182378"/>
                    <a:pt x="86939" y="92310"/>
                    <a:pt x="134402" y="4111"/>
                  </a:cubicBezTo>
                  <a:cubicBezTo>
                    <a:pt x="135150" y="2990"/>
                    <a:pt x="136271" y="1869"/>
                    <a:pt x="137766" y="0"/>
                  </a:cubicBezTo>
                  <a:cubicBezTo>
                    <a:pt x="138887" y="1495"/>
                    <a:pt x="139634" y="2616"/>
                    <a:pt x="140382" y="3737"/>
                  </a:cubicBezTo>
                  <a:cubicBezTo>
                    <a:pt x="187471" y="98290"/>
                    <a:pt x="228581" y="194711"/>
                    <a:pt x="254742" y="297112"/>
                  </a:cubicBezTo>
                  <a:cubicBezTo>
                    <a:pt x="281276" y="400260"/>
                    <a:pt x="251378" y="488086"/>
                    <a:pt x="185976" y="567315"/>
                  </a:cubicBezTo>
                  <a:cubicBezTo>
                    <a:pt x="177754" y="577406"/>
                    <a:pt x="168785" y="586749"/>
                    <a:pt x="160189" y="596466"/>
                  </a:cubicBezTo>
                  <a:cubicBezTo>
                    <a:pt x="160189" y="598335"/>
                    <a:pt x="158321" y="599456"/>
                    <a:pt x="154957" y="602072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43" name="Freeform: Shape 942">
              <a:extLst>
                <a:ext uri="{FF2B5EF4-FFF2-40B4-BE49-F238E27FC236}">
                  <a16:creationId xmlns:a16="http://schemas.microsoft.com/office/drawing/2014/main" id="{EA7265A6-6A60-4F84-8896-9A2937635DC5}"/>
                </a:ext>
              </a:extLst>
            </p:cNvPr>
            <p:cNvSpPr/>
            <p:nvPr/>
          </p:nvSpPr>
          <p:spPr>
            <a:xfrm>
              <a:off x="4521527" y="2706084"/>
              <a:ext cx="380363" cy="791155"/>
            </a:xfrm>
            <a:custGeom>
              <a:avLst/>
              <a:gdLst>
                <a:gd name="connsiteX0" fmla="*/ 27300 w 280294"/>
                <a:gd name="connsiteY0" fmla="*/ 0 h 583011"/>
                <a:gd name="connsiteX1" fmla="*/ 158851 w 280294"/>
                <a:gd name="connsiteY1" fmla="*/ 146127 h 583011"/>
                <a:gd name="connsiteX2" fmla="*/ 232849 w 280294"/>
                <a:gd name="connsiteY2" fmla="*/ 247033 h 583011"/>
                <a:gd name="connsiteX3" fmla="*/ 264615 w 280294"/>
                <a:gd name="connsiteY3" fmla="*/ 497429 h 583011"/>
                <a:gd name="connsiteX4" fmla="*/ 238081 w 280294"/>
                <a:gd name="connsiteY4" fmla="*/ 564699 h 583011"/>
                <a:gd name="connsiteX5" fmla="*/ 79247 w 280294"/>
                <a:gd name="connsiteY5" fmla="*/ 162197 h 583011"/>
                <a:gd name="connsiteX6" fmla="*/ 75510 w 280294"/>
                <a:gd name="connsiteY6" fmla="*/ 163318 h 583011"/>
                <a:gd name="connsiteX7" fmla="*/ 108398 w 280294"/>
                <a:gd name="connsiteY7" fmla="*/ 303465 h 583011"/>
                <a:gd name="connsiteX8" fmla="*/ 144276 w 280294"/>
                <a:gd name="connsiteY8" fmla="*/ 443239 h 583011"/>
                <a:gd name="connsiteX9" fmla="*/ 187628 w 280294"/>
                <a:gd name="connsiteY9" fmla="*/ 583012 h 583011"/>
                <a:gd name="connsiteX10" fmla="*/ 15714 w 280294"/>
                <a:gd name="connsiteY10" fmla="*/ 396149 h 583011"/>
                <a:gd name="connsiteX11" fmla="*/ 391 w 280294"/>
                <a:gd name="connsiteY11" fmla="*/ 270951 h 583011"/>
                <a:gd name="connsiteX12" fmla="*/ 22815 w 280294"/>
                <a:gd name="connsiteY12" fmla="*/ 8596 h 583011"/>
                <a:gd name="connsiteX13" fmla="*/ 27300 w 280294"/>
                <a:gd name="connsiteY13" fmla="*/ 0 h 583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80294" h="583011">
                  <a:moveTo>
                    <a:pt x="27300" y="0"/>
                  </a:moveTo>
                  <a:cubicBezTo>
                    <a:pt x="72520" y="50079"/>
                    <a:pt x="116994" y="96795"/>
                    <a:pt x="158851" y="146127"/>
                  </a:cubicBezTo>
                  <a:cubicBezTo>
                    <a:pt x="185759" y="177893"/>
                    <a:pt x="209304" y="212650"/>
                    <a:pt x="232849" y="247033"/>
                  </a:cubicBezTo>
                  <a:cubicBezTo>
                    <a:pt x="286291" y="324768"/>
                    <a:pt x="293018" y="409230"/>
                    <a:pt x="264615" y="497429"/>
                  </a:cubicBezTo>
                  <a:cubicBezTo>
                    <a:pt x="257141" y="520226"/>
                    <a:pt x="248171" y="542649"/>
                    <a:pt x="238081" y="564699"/>
                  </a:cubicBezTo>
                  <a:cubicBezTo>
                    <a:pt x="196224" y="425300"/>
                    <a:pt x="136427" y="294496"/>
                    <a:pt x="79247" y="162197"/>
                  </a:cubicBezTo>
                  <a:cubicBezTo>
                    <a:pt x="78126" y="162571"/>
                    <a:pt x="77005" y="162944"/>
                    <a:pt x="75510" y="163318"/>
                  </a:cubicBezTo>
                  <a:cubicBezTo>
                    <a:pt x="86348" y="210034"/>
                    <a:pt x="96813" y="257123"/>
                    <a:pt x="108398" y="303465"/>
                  </a:cubicBezTo>
                  <a:cubicBezTo>
                    <a:pt x="119984" y="350181"/>
                    <a:pt x="131195" y="396896"/>
                    <a:pt x="144276" y="443239"/>
                  </a:cubicBezTo>
                  <a:cubicBezTo>
                    <a:pt x="157356" y="489954"/>
                    <a:pt x="173053" y="535549"/>
                    <a:pt x="187628" y="583012"/>
                  </a:cubicBezTo>
                  <a:cubicBezTo>
                    <a:pt x="110267" y="538165"/>
                    <a:pt x="40380" y="486217"/>
                    <a:pt x="15714" y="396149"/>
                  </a:cubicBezTo>
                  <a:cubicBezTo>
                    <a:pt x="4502" y="356160"/>
                    <a:pt x="1513" y="312808"/>
                    <a:pt x="391" y="270951"/>
                  </a:cubicBezTo>
                  <a:cubicBezTo>
                    <a:pt x="-2225" y="182752"/>
                    <a:pt x="8613" y="95300"/>
                    <a:pt x="22815" y="8596"/>
                  </a:cubicBezTo>
                  <a:cubicBezTo>
                    <a:pt x="23189" y="7101"/>
                    <a:pt x="24310" y="5980"/>
                    <a:pt x="27300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>
                <a:solidFill>
                  <a:schemeClr val="accent1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944" name="Freeform: Shape 943">
              <a:extLst>
                <a:ext uri="{FF2B5EF4-FFF2-40B4-BE49-F238E27FC236}">
                  <a16:creationId xmlns:a16="http://schemas.microsoft.com/office/drawing/2014/main" id="{DEC05196-F522-4222-8072-37857FFCF64F}"/>
                </a:ext>
              </a:extLst>
            </p:cNvPr>
            <p:cNvSpPr/>
            <p:nvPr/>
          </p:nvSpPr>
          <p:spPr>
            <a:xfrm>
              <a:off x="7288955" y="2708113"/>
              <a:ext cx="380363" cy="791155"/>
            </a:xfrm>
            <a:custGeom>
              <a:avLst/>
              <a:gdLst>
                <a:gd name="connsiteX0" fmla="*/ 257583 w 280294"/>
                <a:gd name="connsiteY0" fmla="*/ 2990 h 583011"/>
                <a:gd name="connsiteX1" fmla="*/ 268795 w 280294"/>
                <a:gd name="connsiteY1" fmla="*/ 83341 h 583011"/>
                <a:gd name="connsiteX2" fmla="*/ 280380 w 280294"/>
                <a:gd name="connsiteY2" fmla="*/ 300475 h 583011"/>
                <a:gd name="connsiteX3" fmla="*/ 129395 w 280294"/>
                <a:gd name="connsiteY3" fmla="*/ 559841 h 583011"/>
                <a:gd name="connsiteX4" fmla="*/ 90901 w 280294"/>
                <a:gd name="connsiteY4" fmla="*/ 583012 h 583011"/>
                <a:gd name="connsiteX5" fmla="*/ 203393 w 280294"/>
                <a:gd name="connsiteY5" fmla="*/ 161449 h 583011"/>
                <a:gd name="connsiteX6" fmla="*/ 44933 w 280294"/>
                <a:gd name="connsiteY6" fmla="*/ 562831 h 583011"/>
                <a:gd name="connsiteX7" fmla="*/ 41570 w 280294"/>
                <a:gd name="connsiteY7" fmla="*/ 561336 h 583011"/>
                <a:gd name="connsiteX8" fmla="*/ 40822 w 280294"/>
                <a:gd name="connsiteY8" fmla="*/ 257123 h 583011"/>
                <a:gd name="connsiteX9" fmla="*/ 228806 w 280294"/>
                <a:gd name="connsiteY9" fmla="*/ 26908 h 583011"/>
                <a:gd name="connsiteX10" fmla="*/ 251603 w 280294"/>
                <a:gd name="connsiteY10" fmla="*/ 0 h 583011"/>
                <a:gd name="connsiteX11" fmla="*/ 257583 w 280294"/>
                <a:gd name="connsiteY11" fmla="*/ 2990 h 5830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294" h="583011">
                  <a:moveTo>
                    <a:pt x="257583" y="2990"/>
                  </a:moveTo>
                  <a:cubicBezTo>
                    <a:pt x="261320" y="29898"/>
                    <a:pt x="265431" y="56433"/>
                    <a:pt x="268795" y="83341"/>
                  </a:cubicBezTo>
                  <a:cubicBezTo>
                    <a:pt x="278138" y="155470"/>
                    <a:pt x="281128" y="227599"/>
                    <a:pt x="280380" y="300475"/>
                  </a:cubicBezTo>
                  <a:cubicBezTo>
                    <a:pt x="278885" y="415957"/>
                    <a:pt x="225069" y="499671"/>
                    <a:pt x="129395" y="559841"/>
                  </a:cubicBezTo>
                  <a:cubicBezTo>
                    <a:pt x="117810" y="567315"/>
                    <a:pt x="105477" y="574043"/>
                    <a:pt x="90901" y="583012"/>
                  </a:cubicBezTo>
                  <a:cubicBezTo>
                    <a:pt x="142849" y="444360"/>
                    <a:pt x="172374" y="302718"/>
                    <a:pt x="203393" y="161449"/>
                  </a:cubicBezTo>
                  <a:cubicBezTo>
                    <a:pt x="144344" y="293001"/>
                    <a:pt x="84548" y="423805"/>
                    <a:pt x="44933" y="562831"/>
                  </a:cubicBezTo>
                  <a:cubicBezTo>
                    <a:pt x="43438" y="562083"/>
                    <a:pt x="41943" y="562083"/>
                    <a:pt x="41570" y="561336"/>
                  </a:cubicBezTo>
                  <a:cubicBezTo>
                    <a:pt x="-4772" y="460056"/>
                    <a:pt x="-21964" y="358777"/>
                    <a:pt x="40822" y="257123"/>
                  </a:cubicBezTo>
                  <a:cubicBezTo>
                    <a:pt x="93144" y="171914"/>
                    <a:pt x="159293" y="97916"/>
                    <a:pt x="228806" y="26908"/>
                  </a:cubicBezTo>
                  <a:cubicBezTo>
                    <a:pt x="237028" y="18686"/>
                    <a:pt x="244129" y="8969"/>
                    <a:pt x="251603" y="0"/>
                  </a:cubicBezTo>
                  <a:cubicBezTo>
                    <a:pt x="253846" y="747"/>
                    <a:pt x="255715" y="1869"/>
                    <a:pt x="257583" y="2990"/>
                  </a:cubicBezTo>
                  <a:close/>
                </a:path>
              </a:pathLst>
            </a:custGeom>
            <a:solidFill>
              <a:srgbClr val="0070C0"/>
            </a:solidFill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45" name="Freeform: Shape 944">
              <a:extLst>
                <a:ext uri="{FF2B5EF4-FFF2-40B4-BE49-F238E27FC236}">
                  <a16:creationId xmlns:a16="http://schemas.microsoft.com/office/drawing/2014/main" id="{AB625062-87C3-47B3-837B-43635F5BABA9}"/>
                </a:ext>
              </a:extLst>
            </p:cNvPr>
            <p:cNvSpPr/>
            <p:nvPr/>
          </p:nvSpPr>
          <p:spPr>
            <a:xfrm>
              <a:off x="4631604" y="4630173"/>
              <a:ext cx="456435" cy="451365"/>
            </a:xfrm>
            <a:custGeom>
              <a:avLst/>
              <a:gdLst>
                <a:gd name="connsiteX0" fmla="*/ 338222 w 336352"/>
                <a:gd name="connsiteY0" fmla="*/ 34039 h 332615"/>
                <a:gd name="connsiteX1" fmla="*/ 312061 w 336352"/>
                <a:gd name="connsiteY1" fmla="*/ 195862 h 332615"/>
                <a:gd name="connsiteX2" fmla="*/ 248527 w 336352"/>
                <a:gd name="connsiteY2" fmla="*/ 254911 h 332615"/>
                <a:gd name="connsiteX3" fmla="*/ 4858 w 336352"/>
                <a:gd name="connsiteY3" fmla="*/ 336009 h 332615"/>
                <a:gd name="connsiteX4" fmla="*/ 0 w 336352"/>
                <a:gd name="connsiteY4" fmla="*/ 334514 h 332615"/>
                <a:gd name="connsiteX5" fmla="*/ 22050 w 336352"/>
                <a:gd name="connsiteY5" fmla="*/ 248931 h 332615"/>
                <a:gd name="connsiteX6" fmla="*/ 74745 w 336352"/>
                <a:gd name="connsiteY6" fmla="*/ 106915 h 332615"/>
                <a:gd name="connsiteX7" fmla="*/ 230962 w 336352"/>
                <a:gd name="connsiteY7" fmla="*/ 777 h 332615"/>
                <a:gd name="connsiteX8" fmla="*/ 301223 w 336352"/>
                <a:gd name="connsiteY8" fmla="*/ 404 h 332615"/>
                <a:gd name="connsiteX9" fmla="*/ 191721 w 336352"/>
                <a:gd name="connsiteY9" fmla="*/ 120370 h 332615"/>
                <a:gd name="connsiteX10" fmla="*/ 91189 w 336352"/>
                <a:gd name="connsiteY10" fmla="*/ 246315 h 332615"/>
                <a:gd name="connsiteX11" fmla="*/ 338222 w 336352"/>
                <a:gd name="connsiteY11" fmla="*/ 34039 h 332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6352" h="332615">
                  <a:moveTo>
                    <a:pt x="338222" y="34039"/>
                  </a:moveTo>
                  <a:cubicBezTo>
                    <a:pt x="342333" y="92340"/>
                    <a:pt x="339717" y="146157"/>
                    <a:pt x="312061" y="195862"/>
                  </a:cubicBezTo>
                  <a:cubicBezTo>
                    <a:pt x="297486" y="222397"/>
                    <a:pt x="274315" y="240709"/>
                    <a:pt x="248527" y="254911"/>
                  </a:cubicBezTo>
                  <a:cubicBezTo>
                    <a:pt x="172288" y="296394"/>
                    <a:pt x="89320" y="318444"/>
                    <a:pt x="4858" y="336009"/>
                  </a:cubicBezTo>
                  <a:cubicBezTo>
                    <a:pt x="4111" y="336009"/>
                    <a:pt x="2990" y="335635"/>
                    <a:pt x="0" y="334514"/>
                  </a:cubicBezTo>
                  <a:cubicBezTo>
                    <a:pt x="7101" y="306111"/>
                    <a:pt x="12707" y="276587"/>
                    <a:pt x="22050" y="248931"/>
                  </a:cubicBezTo>
                  <a:cubicBezTo>
                    <a:pt x="38120" y="201094"/>
                    <a:pt x="54938" y="153257"/>
                    <a:pt x="74745" y="106915"/>
                  </a:cubicBezTo>
                  <a:cubicBezTo>
                    <a:pt x="103522" y="38897"/>
                    <a:pt x="158833" y="6009"/>
                    <a:pt x="230962" y="777"/>
                  </a:cubicBezTo>
                  <a:cubicBezTo>
                    <a:pt x="254507" y="-718"/>
                    <a:pt x="278052" y="404"/>
                    <a:pt x="301223" y="404"/>
                  </a:cubicBezTo>
                  <a:cubicBezTo>
                    <a:pt x="264224" y="40766"/>
                    <a:pt x="226851" y="79633"/>
                    <a:pt x="191721" y="120370"/>
                  </a:cubicBezTo>
                  <a:cubicBezTo>
                    <a:pt x="156591" y="160732"/>
                    <a:pt x="123703" y="203337"/>
                    <a:pt x="91189" y="246315"/>
                  </a:cubicBezTo>
                  <a:cubicBezTo>
                    <a:pt x="177520" y="181287"/>
                    <a:pt x="263103" y="116259"/>
                    <a:pt x="338222" y="34039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46" name="Freeform: Shape 945">
              <a:extLst>
                <a:ext uri="{FF2B5EF4-FFF2-40B4-BE49-F238E27FC236}">
                  <a16:creationId xmlns:a16="http://schemas.microsoft.com/office/drawing/2014/main" id="{882802A1-C2BD-4CA0-9B57-8A91AA7E078C}"/>
                </a:ext>
              </a:extLst>
            </p:cNvPr>
            <p:cNvSpPr/>
            <p:nvPr/>
          </p:nvSpPr>
          <p:spPr>
            <a:xfrm>
              <a:off x="7097876" y="4628810"/>
              <a:ext cx="461507" cy="456435"/>
            </a:xfrm>
            <a:custGeom>
              <a:avLst/>
              <a:gdLst>
                <a:gd name="connsiteX0" fmla="*/ 39241 w 340090"/>
                <a:gd name="connsiteY0" fmla="*/ 1409 h 336353"/>
                <a:gd name="connsiteX1" fmla="*/ 182004 w 340090"/>
                <a:gd name="connsiteY1" fmla="*/ 18974 h 336353"/>
                <a:gd name="connsiteX2" fmla="*/ 254133 w 340090"/>
                <a:gd name="connsiteY2" fmla="*/ 85497 h 336353"/>
                <a:gd name="connsiteX3" fmla="*/ 327384 w 340090"/>
                <a:gd name="connsiteY3" fmla="*/ 281703 h 336353"/>
                <a:gd name="connsiteX4" fmla="*/ 340464 w 340090"/>
                <a:gd name="connsiteY4" fmla="*/ 337762 h 336353"/>
                <a:gd name="connsiteX5" fmla="*/ 310192 w 340090"/>
                <a:gd name="connsiteY5" fmla="*/ 331408 h 336353"/>
                <a:gd name="connsiteX6" fmla="*/ 131178 w 340090"/>
                <a:gd name="connsiteY6" fmla="*/ 275723 h 336353"/>
                <a:gd name="connsiteX7" fmla="*/ 0 w 340090"/>
                <a:gd name="connsiteY7" fmla="*/ 81386 h 336353"/>
                <a:gd name="connsiteX8" fmla="*/ 1869 w 340090"/>
                <a:gd name="connsiteY8" fmla="*/ 37660 h 336353"/>
                <a:gd name="connsiteX9" fmla="*/ 247033 w 340090"/>
                <a:gd name="connsiteY9" fmla="*/ 248067 h 336353"/>
                <a:gd name="connsiteX10" fmla="*/ 250022 w 340090"/>
                <a:gd name="connsiteY10" fmla="*/ 245078 h 336353"/>
                <a:gd name="connsiteX11" fmla="*/ 147622 w 340090"/>
                <a:gd name="connsiteY11" fmla="*/ 120253 h 336353"/>
                <a:gd name="connsiteX12" fmla="*/ 39241 w 340090"/>
                <a:gd name="connsiteY12" fmla="*/ 1409 h 336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0090" h="336353">
                  <a:moveTo>
                    <a:pt x="39241" y="1409"/>
                  </a:moveTo>
                  <a:cubicBezTo>
                    <a:pt x="87826" y="-1955"/>
                    <a:pt x="136036" y="-460"/>
                    <a:pt x="182004" y="18974"/>
                  </a:cubicBezTo>
                  <a:cubicBezTo>
                    <a:pt x="213771" y="32802"/>
                    <a:pt x="236568" y="55973"/>
                    <a:pt x="254133" y="85497"/>
                  </a:cubicBezTo>
                  <a:cubicBezTo>
                    <a:pt x="290011" y="146788"/>
                    <a:pt x="309819" y="213685"/>
                    <a:pt x="327384" y="281703"/>
                  </a:cubicBezTo>
                  <a:cubicBezTo>
                    <a:pt x="331868" y="299268"/>
                    <a:pt x="335606" y="317207"/>
                    <a:pt x="340464" y="337762"/>
                  </a:cubicBezTo>
                  <a:cubicBezTo>
                    <a:pt x="329252" y="335519"/>
                    <a:pt x="319535" y="333651"/>
                    <a:pt x="310192" y="331408"/>
                  </a:cubicBezTo>
                  <a:cubicBezTo>
                    <a:pt x="248901" y="317580"/>
                    <a:pt x="189853" y="298520"/>
                    <a:pt x="131178" y="275723"/>
                  </a:cubicBezTo>
                  <a:cubicBezTo>
                    <a:pt x="41484" y="240967"/>
                    <a:pt x="374" y="175565"/>
                    <a:pt x="0" y="81386"/>
                  </a:cubicBezTo>
                  <a:cubicBezTo>
                    <a:pt x="0" y="67184"/>
                    <a:pt x="0" y="52609"/>
                    <a:pt x="1869" y="37660"/>
                  </a:cubicBezTo>
                  <a:cubicBezTo>
                    <a:pt x="76988" y="116516"/>
                    <a:pt x="162944" y="181544"/>
                    <a:pt x="247033" y="248067"/>
                  </a:cubicBezTo>
                  <a:cubicBezTo>
                    <a:pt x="248154" y="246946"/>
                    <a:pt x="249275" y="246199"/>
                    <a:pt x="250022" y="245078"/>
                  </a:cubicBezTo>
                  <a:cubicBezTo>
                    <a:pt x="216013" y="203594"/>
                    <a:pt x="182752" y="160989"/>
                    <a:pt x="147622" y="120253"/>
                  </a:cubicBezTo>
                  <a:cubicBezTo>
                    <a:pt x="113239" y="80638"/>
                    <a:pt x="76240" y="41771"/>
                    <a:pt x="39241" y="1409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47" name="Freeform: Shape 946">
              <a:extLst>
                <a:ext uri="{FF2B5EF4-FFF2-40B4-BE49-F238E27FC236}">
                  <a16:creationId xmlns:a16="http://schemas.microsoft.com/office/drawing/2014/main" id="{1647E6CC-2D33-4799-8996-DC678194A355}"/>
                </a:ext>
              </a:extLst>
            </p:cNvPr>
            <p:cNvSpPr/>
            <p:nvPr/>
          </p:nvSpPr>
          <p:spPr>
            <a:xfrm>
              <a:off x="4997751" y="2561546"/>
              <a:ext cx="314433" cy="608581"/>
            </a:xfrm>
            <a:custGeom>
              <a:avLst/>
              <a:gdLst>
                <a:gd name="connsiteX0" fmla="*/ 85220 w 231709"/>
                <a:gd name="connsiteY0" fmla="*/ 449966 h 448470"/>
                <a:gd name="connsiteX1" fmla="*/ 10 w 231709"/>
                <a:gd name="connsiteY1" fmla="*/ 281415 h 448470"/>
                <a:gd name="connsiteX2" fmla="*/ 10848 w 231709"/>
                <a:gd name="connsiteY2" fmla="*/ 223114 h 448470"/>
                <a:gd name="connsiteX3" fmla="*/ 131936 w 231709"/>
                <a:gd name="connsiteY3" fmla="*/ 0 h 448470"/>
                <a:gd name="connsiteX4" fmla="*/ 136047 w 231709"/>
                <a:gd name="connsiteY4" fmla="*/ 2242 h 448470"/>
                <a:gd name="connsiteX5" fmla="*/ 230225 w 231709"/>
                <a:gd name="connsiteY5" fmla="*/ 236195 h 448470"/>
                <a:gd name="connsiteX6" fmla="*/ 199954 w 231709"/>
                <a:gd name="connsiteY6" fmla="*/ 380079 h 448470"/>
                <a:gd name="connsiteX7" fmla="*/ 130067 w 231709"/>
                <a:gd name="connsiteY7" fmla="*/ 451087 h 448470"/>
                <a:gd name="connsiteX8" fmla="*/ 126330 w 231709"/>
                <a:gd name="connsiteY8" fmla="*/ 125198 h 448470"/>
                <a:gd name="connsiteX9" fmla="*/ 85220 w 231709"/>
                <a:gd name="connsiteY9" fmla="*/ 449966 h 448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1709" h="448470">
                  <a:moveTo>
                    <a:pt x="85220" y="449966"/>
                  </a:moveTo>
                  <a:cubicBezTo>
                    <a:pt x="38878" y="399886"/>
                    <a:pt x="-737" y="350181"/>
                    <a:pt x="10" y="281415"/>
                  </a:cubicBezTo>
                  <a:cubicBezTo>
                    <a:pt x="384" y="261982"/>
                    <a:pt x="4495" y="241800"/>
                    <a:pt x="10848" y="223114"/>
                  </a:cubicBezTo>
                  <a:cubicBezTo>
                    <a:pt x="37757" y="141642"/>
                    <a:pt x="83725" y="70260"/>
                    <a:pt x="131936" y="0"/>
                  </a:cubicBezTo>
                  <a:cubicBezTo>
                    <a:pt x="133804" y="1121"/>
                    <a:pt x="135673" y="1495"/>
                    <a:pt x="136047" y="2242"/>
                  </a:cubicBezTo>
                  <a:cubicBezTo>
                    <a:pt x="176035" y="76987"/>
                    <a:pt x="211913" y="152854"/>
                    <a:pt x="230225" y="236195"/>
                  </a:cubicBezTo>
                  <a:cubicBezTo>
                    <a:pt x="241811" y="289264"/>
                    <a:pt x="231347" y="336727"/>
                    <a:pt x="199954" y="380079"/>
                  </a:cubicBezTo>
                  <a:cubicBezTo>
                    <a:pt x="180520" y="406613"/>
                    <a:pt x="158096" y="429784"/>
                    <a:pt x="130067" y="451087"/>
                  </a:cubicBezTo>
                  <a:cubicBezTo>
                    <a:pt x="140158" y="340838"/>
                    <a:pt x="133804" y="232831"/>
                    <a:pt x="126330" y="125198"/>
                  </a:cubicBezTo>
                  <a:cubicBezTo>
                    <a:pt x="106896" y="231336"/>
                    <a:pt x="86341" y="337100"/>
                    <a:pt x="85220" y="449966"/>
                  </a:cubicBezTo>
                  <a:close/>
                </a:path>
              </a:pathLst>
            </a:custGeom>
            <a:solidFill>
              <a:srgbClr val="0070C0"/>
            </a:solidFill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48" name="Freeform: Shape 947">
              <a:extLst>
                <a:ext uri="{FF2B5EF4-FFF2-40B4-BE49-F238E27FC236}">
                  <a16:creationId xmlns:a16="http://schemas.microsoft.com/office/drawing/2014/main" id="{596CEF4F-0E09-4C15-B111-D8CE5A7F1350}"/>
                </a:ext>
              </a:extLst>
            </p:cNvPr>
            <p:cNvSpPr/>
            <p:nvPr/>
          </p:nvSpPr>
          <p:spPr>
            <a:xfrm>
              <a:off x="6874160" y="2561039"/>
              <a:ext cx="314433" cy="608581"/>
            </a:xfrm>
            <a:custGeom>
              <a:avLst/>
              <a:gdLst>
                <a:gd name="connsiteX0" fmla="*/ 153647 w 231709"/>
                <a:gd name="connsiteY0" fmla="*/ 448097 h 448470"/>
                <a:gd name="connsiteX1" fmla="*/ 107679 w 231709"/>
                <a:gd name="connsiteY1" fmla="*/ 125946 h 448470"/>
                <a:gd name="connsiteX2" fmla="*/ 102447 w 231709"/>
                <a:gd name="connsiteY2" fmla="*/ 232831 h 448470"/>
                <a:gd name="connsiteX3" fmla="*/ 100205 w 231709"/>
                <a:gd name="connsiteY3" fmla="*/ 340090 h 448470"/>
                <a:gd name="connsiteX4" fmla="*/ 104316 w 231709"/>
                <a:gd name="connsiteY4" fmla="*/ 449966 h 448470"/>
                <a:gd name="connsiteX5" fmla="*/ 95346 w 231709"/>
                <a:gd name="connsiteY5" fmla="*/ 443986 h 448470"/>
                <a:gd name="connsiteX6" fmla="*/ 6400 w 231709"/>
                <a:gd name="connsiteY6" fmla="*/ 323273 h 448470"/>
                <a:gd name="connsiteX7" fmla="*/ 9016 w 231709"/>
                <a:gd name="connsiteY7" fmla="*/ 219003 h 448470"/>
                <a:gd name="connsiteX8" fmla="*/ 98710 w 231709"/>
                <a:gd name="connsiteY8" fmla="*/ 3737 h 448470"/>
                <a:gd name="connsiteX9" fmla="*/ 102821 w 231709"/>
                <a:gd name="connsiteY9" fmla="*/ 0 h 448470"/>
                <a:gd name="connsiteX10" fmla="*/ 118891 w 231709"/>
                <a:gd name="connsiteY10" fmla="*/ 23171 h 448470"/>
                <a:gd name="connsiteX11" fmla="*/ 219049 w 231709"/>
                <a:gd name="connsiteY11" fmla="*/ 205549 h 448470"/>
                <a:gd name="connsiteX12" fmla="*/ 193263 w 231709"/>
                <a:gd name="connsiteY12" fmla="*/ 399139 h 448470"/>
                <a:gd name="connsiteX13" fmla="*/ 153647 w 231709"/>
                <a:gd name="connsiteY13" fmla="*/ 448097 h 448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31709" h="448470">
                  <a:moveTo>
                    <a:pt x="153647" y="448097"/>
                  </a:moveTo>
                  <a:cubicBezTo>
                    <a:pt x="149163" y="337474"/>
                    <a:pt x="128608" y="231710"/>
                    <a:pt x="107679" y="125946"/>
                  </a:cubicBezTo>
                  <a:cubicBezTo>
                    <a:pt x="105811" y="161449"/>
                    <a:pt x="103568" y="197327"/>
                    <a:pt x="102447" y="232831"/>
                  </a:cubicBezTo>
                  <a:cubicBezTo>
                    <a:pt x="101326" y="268709"/>
                    <a:pt x="99831" y="304213"/>
                    <a:pt x="100205" y="340090"/>
                  </a:cubicBezTo>
                  <a:cubicBezTo>
                    <a:pt x="100578" y="376342"/>
                    <a:pt x="102821" y="412593"/>
                    <a:pt x="104316" y="449966"/>
                  </a:cubicBezTo>
                  <a:cubicBezTo>
                    <a:pt x="101326" y="447723"/>
                    <a:pt x="97962" y="446228"/>
                    <a:pt x="95346" y="443986"/>
                  </a:cubicBezTo>
                  <a:cubicBezTo>
                    <a:pt x="56479" y="410724"/>
                    <a:pt x="22470" y="373726"/>
                    <a:pt x="6400" y="323273"/>
                  </a:cubicBezTo>
                  <a:cubicBezTo>
                    <a:pt x="-4812" y="288142"/>
                    <a:pt x="420" y="253386"/>
                    <a:pt x="9016" y="219003"/>
                  </a:cubicBezTo>
                  <a:cubicBezTo>
                    <a:pt x="28449" y="143137"/>
                    <a:pt x="61711" y="72503"/>
                    <a:pt x="98710" y="3737"/>
                  </a:cubicBezTo>
                  <a:cubicBezTo>
                    <a:pt x="99457" y="2616"/>
                    <a:pt x="100578" y="1869"/>
                    <a:pt x="102821" y="0"/>
                  </a:cubicBezTo>
                  <a:cubicBezTo>
                    <a:pt x="108427" y="8222"/>
                    <a:pt x="114033" y="15696"/>
                    <a:pt x="118891" y="23171"/>
                  </a:cubicBezTo>
                  <a:cubicBezTo>
                    <a:pt x="157759" y="81098"/>
                    <a:pt x="192515" y="140895"/>
                    <a:pt x="219049" y="205549"/>
                  </a:cubicBezTo>
                  <a:cubicBezTo>
                    <a:pt x="247826" y="275809"/>
                    <a:pt x="237736" y="339717"/>
                    <a:pt x="193263" y="399139"/>
                  </a:cubicBezTo>
                  <a:cubicBezTo>
                    <a:pt x="181303" y="415957"/>
                    <a:pt x="167102" y="431653"/>
                    <a:pt x="153647" y="448097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49" name="Freeform: Shape 948">
              <a:extLst>
                <a:ext uri="{FF2B5EF4-FFF2-40B4-BE49-F238E27FC236}">
                  <a16:creationId xmlns:a16="http://schemas.microsoft.com/office/drawing/2014/main" id="{D56AF8AD-3732-4422-B531-C7DA70C7A42D}"/>
                </a:ext>
              </a:extLst>
            </p:cNvPr>
            <p:cNvSpPr/>
            <p:nvPr/>
          </p:nvSpPr>
          <p:spPr>
            <a:xfrm>
              <a:off x="5275101" y="3555561"/>
              <a:ext cx="319505" cy="603508"/>
            </a:xfrm>
            <a:custGeom>
              <a:avLst/>
              <a:gdLst>
                <a:gd name="connsiteX0" fmla="*/ 66953 w 235447"/>
                <a:gd name="connsiteY0" fmla="*/ 0 h 444733"/>
                <a:gd name="connsiteX1" fmla="*/ 74054 w 235447"/>
                <a:gd name="connsiteY1" fmla="*/ 5980 h 444733"/>
                <a:gd name="connsiteX2" fmla="*/ 199252 w 235447"/>
                <a:gd name="connsiteY2" fmla="*/ 172288 h 444733"/>
                <a:gd name="connsiteX3" fmla="*/ 192152 w 235447"/>
                <a:gd name="connsiteY3" fmla="*/ 411472 h 444733"/>
                <a:gd name="connsiteX4" fmla="*/ 170102 w 235447"/>
                <a:gd name="connsiteY4" fmla="*/ 442491 h 444733"/>
                <a:gd name="connsiteX5" fmla="*/ 91246 w 235447"/>
                <a:gd name="connsiteY5" fmla="*/ 127440 h 444733"/>
                <a:gd name="connsiteX6" fmla="*/ 125628 w 235447"/>
                <a:gd name="connsiteY6" fmla="*/ 446976 h 444733"/>
                <a:gd name="connsiteX7" fmla="*/ 57 w 235447"/>
                <a:gd name="connsiteY7" fmla="*/ 274315 h 444733"/>
                <a:gd name="connsiteX8" fmla="*/ 32197 w 235447"/>
                <a:gd name="connsiteY8" fmla="*/ 100906 h 444733"/>
                <a:gd name="connsiteX9" fmla="*/ 66953 w 235447"/>
                <a:gd name="connsiteY9" fmla="*/ 0 h 444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5447" h="444733">
                  <a:moveTo>
                    <a:pt x="66953" y="0"/>
                  </a:moveTo>
                  <a:cubicBezTo>
                    <a:pt x="70691" y="2990"/>
                    <a:pt x="72559" y="4485"/>
                    <a:pt x="74054" y="5980"/>
                  </a:cubicBezTo>
                  <a:cubicBezTo>
                    <a:pt x="120396" y="57927"/>
                    <a:pt x="161880" y="113239"/>
                    <a:pt x="199252" y="172288"/>
                  </a:cubicBezTo>
                  <a:cubicBezTo>
                    <a:pt x="251200" y="254507"/>
                    <a:pt x="245968" y="333363"/>
                    <a:pt x="192152" y="411472"/>
                  </a:cubicBezTo>
                  <a:cubicBezTo>
                    <a:pt x="185798" y="420815"/>
                    <a:pt x="179071" y="429784"/>
                    <a:pt x="170102" y="442491"/>
                  </a:cubicBezTo>
                  <a:cubicBezTo>
                    <a:pt x="155153" y="332242"/>
                    <a:pt x="123012" y="230215"/>
                    <a:pt x="91246" y="127440"/>
                  </a:cubicBezTo>
                  <a:cubicBezTo>
                    <a:pt x="96478" y="234700"/>
                    <a:pt x="101710" y="341585"/>
                    <a:pt x="125628" y="446976"/>
                  </a:cubicBezTo>
                  <a:cubicBezTo>
                    <a:pt x="62469" y="424926"/>
                    <a:pt x="1178" y="340464"/>
                    <a:pt x="57" y="274315"/>
                  </a:cubicBezTo>
                  <a:cubicBezTo>
                    <a:pt x="-1065" y="214518"/>
                    <a:pt x="14632" y="157338"/>
                    <a:pt x="32197" y="100906"/>
                  </a:cubicBezTo>
                  <a:cubicBezTo>
                    <a:pt x="42661" y="67644"/>
                    <a:pt x="54994" y="34756"/>
                    <a:pt x="66953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50" name="Freeform: Shape 949">
              <a:extLst>
                <a:ext uri="{FF2B5EF4-FFF2-40B4-BE49-F238E27FC236}">
                  <a16:creationId xmlns:a16="http://schemas.microsoft.com/office/drawing/2014/main" id="{C7344D9D-A575-44A5-AC15-32DE9B43051E}"/>
                </a:ext>
              </a:extLst>
            </p:cNvPr>
            <p:cNvSpPr/>
            <p:nvPr/>
          </p:nvSpPr>
          <p:spPr>
            <a:xfrm>
              <a:off x="6595493" y="3558098"/>
              <a:ext cx="319505" cy="608581"/>
            </a:xfrm>
            <a:custGeom>
              <a:avLst/>
              <a:gdLst>
                <a:gd name="connsiteX0" fmla="*/ 110099 w 235447"/>
                <a:gd name="connsiteY0" fmla="*/ 449592 h 448470"/>
                <a:gd name="connsiteX1" fmla="*/ 145603 w 235447"/>
                <a:gd name="connsiteY1" fmla="*/ 125945 h 448470"/>
                <a:gd name="connsiteX2" fmla="*/ 66746 w 235447"/>
                <a:gd name="connsiteY2" fmla="*/ 440249 h 448470"/>
                <a:gd name="connsiteX3" fmla="*/ 11809 w 235447"/>
                <a:gd name="connsiteY3" fmla="*/ 346444 h 448470"/>
                <a:gd name="connsiteX4" fmla="*/ 15172 w 235447"/>
                <a:gd name="connsiteY4" fmla="*/ 216013 h 448470"/>
                <a:gd name="connsiteX5" fmla="*/ 166158 w 235447"/>
                <a:gd name="connsiteY5" fmla="*/ 0 h 448470"/>
                <a:gd name="connsiteX6" fmla="*/ 169521 w 235447"/>
                <a:gd name="connsiteY6" fmla="*/ 1495 h 448470"/>
                <a:gd name="connsiteX7" fmla="*/ 233428 w 235447"/>
                <a:gd name="connsiteY7" fmla="*/ 219751 h 448470"/>
                <a:gd name="connsiteX8" fmla="*/ 152703 w 235447"/>
                <a:gd name="connsiteY8" fmla="*/ 418946 h 448470"/>
                <a:gd name="connsiteX9" fmla="*/ 110099 w 235447"/>
                <a:gd name="connsiteY9" fmla="*/ 449592 h 448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5447" h="448470">
                  <a:moveTo>
                    <a:pt x="110099" y="449592"/>
                  </a:moveTo>
                  <a:cubicBezTo>
                    <a:pt x="134765" y="340090"/>
                    <a:pt x="139997" y="233205"/>
                    <a:pt x="145603" y="125945"/>
                  </a:cubicBezTo>
                  <a:cubicBezTo>
                    <a:pt x="113836" y="228346"/>
                    <a:pt x="81322" y="330373"/>
                    <a:pt x="66746" y="440249"/>
                  </a:cubicBezTo>
                  <a:cubicBezTo>
                    <a:pt x="42454" y="410351"/>
                    <a:pt x="24516" y="380079"/>
                    <a:pt x="11809" y="346444"/>
                  </a:cubicBezTo>
                  <a:cubicBezTo>
                    <a:pt x="-4635" y="302718"/>
                    <a:pt x="-4261" y="258992"/>
                    <a:pt x="15172" y="216013"/>
                  </a:cubicBezTo>
                  <a:cubicBezTo>
                    <a:pt x="52171" y="134541"/>
                    <a:pt x="108230" y="66523"/>
                    <a:pt x="166158" y="0"/>
                  </a:cubicBezTo>
                  <a:cubicBezTo>
                    <a:pt x="168026" y="747"/>
                    <a:pt x="169521" y="1121"/>
                    <a:pt x="169521" y="1495"/>
                  </a:cubicBezTo>
                  <a:cubicBezTo>
                    <a:pt x="197924" y="72129"/>
                    <a:pt x="219974" y="144258"/>
                    <a:pt x="233428" y="219751"/>
                  </a:cubicBezTo>
                  <a:cubicBezTo>
                    <a:pt x="248377" y="303839"/>
                    <a:pt x="218853" y="368493"/>
                    <a:pt x="152703" y="418946"/>
                  </a:cubicBezTo>
                  <a:cubicBezTo>
                    <a:pt x="139623" y="428663"/>
                    <a:pt x="126169" y="438006"/>
                    <a:pt x="110099" y="449592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51" name="Freeform: Shape 950">
              <a:extLst>
                <a:ext uri="{FF2B5EF4-FFF2-40B4-BE49-F238E27FC236}">
                  <a16:creationId xmlns:a16="http://schemas.microsoft.com/office/drawing/2014/main" id="{3CE1F48B-8FF2-4ECA-84E8-074D33A17FAE}"/>
                </a:ext>
              </a:extLst>
            </p:cNvPr>
            <p:cNvSpPr/>
            <p:nvPr/>
          </p:nvSpPr>
          <p:spPr>
            <a:xfrm>
              <a:off x="6438918" y="2425124"/>
              <a:ext cx="319505" cy="608581"/>
            </a:xfrm>
            <a:custGeom>
              <a:avLst/>
              <a:gdLst>
                <a:gd name="connsiteX0" fmla="*/ 99161 w 235447"/>
                <a:gd name="connsiteY0" fmla="*/ 124451 h 448470"/>
                <a:gd name="connsiteX1" fmla="*/ 116726 w 235447"/>
                <a:gd name="connsiteY1" fmla="*/ 451834 h 448470"/>
                <a:gd name="connsiteX2" fmla="*/ 4235 w 235447"/>
                <a:gd name="connsiteY2" fmla="*/ 310940 h 448470"/>
                <a:gd name="connsiteX3" fmla="*/ 5356 w 235447"/>
                <a:gd name="connsiteY3" fmla="*/ 223862 h 448470"/>
                <a:gd name="connsiteX4" fmla="*/ 83839 w 235447"/>
                <a:gd name="connsiteY4" fmla="*/ 0 h 448470"/>
                <a:gd name="connsiteX5" fmla="*/ 89071 w 235447"/>
                <a:gd name="connsiteY5" fmla="*/ 4111 h 448470"/>
                <a:gd name="connsiteX6" fmla="*/ 205673 w 235447"/>
                <a:gd name="connsiteY6" fmla="*/ 180136 h 448470"/>
                <a:gd name="connsiteX7" fmla="*/ 216511 w 235447"/>
                <a:gd name="connsiteY7" fmla="*/ 202933 h 448470"/>
                <a:gd name="connsiteX8" fmla="*/ 204178 w 235447"/>
                <a:gd name="connsiteY8" fmla="*/ 387180 h 448470"/>
                <a:gd name="connsiteX9" fmla="*/ 162695 w 235447"/>
                <a:gd name="connsiteY9" fmla="*/ 443239 h 448470"/>
                <a:gd name="connsiteX10" fmla="*/ 99161 w 235447"/>
                <a:gd name="connsiteY10" fmla="*/ 124451 h 448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35447" h="448470">
                  <a:moveTo>
                    <a:pt x="99161" y="124451"/>
                  </a:moveTo>
                  <a:cubicBezTo>
                    <a:pt x="99535" y="233205"/>
                    <a:pt x="98040" y="341585"/>
                    <a:pt x="116726" y="451834"/>
                  </a:cubicBezTo>
                  <a:cubicBezTo>
                    <a:pt x="65152" y="413714"/>
                    <a:pt x="20305" y="373726"/>
                    <a:pt x="4235" y="310940"/>
                  </a:cubicBezTo>
                  <a:cubicBezTo>
                    <a:pt x="-3239" y="281789"/>
                    <a:pt x="498" y="252639"/>
                    <a:pt x="5356" y="223862"/>
                  </a:cubicBezTo>
                  <a:cubicBezTo>
                    <a:pt x="14699" y="167803"/>
                    <a:pt x="55062" y="52695"/>
                    <a:pt x="83839" y="0"/>
                  </a:cubicBezTo>
                  <a:cubicBezTo>
                    <a:pt x="85707" y="1495"/>
                    <a:pt x="87576" y="2616"/>
                    <a:pt x="89071" y="4111"/>
                  </a:cubicBezTo>
                  <a:cubicBezTo>
                    <a:pt x="133170" y="59422"/>
                    <a:pt x="173907" y="116976"/>
                    <a:pt x="205673" y="180136"/>
                  </a:cubicBezTo>
                  <a:cubicBezTo>
                    <a:pt x="209410" y="187610"/>
                    <a:pt x="212774" y="195458"/>
                    <a:pt x="216511" y="202933"/>
                  </a:cubicBezTo>
                  <a:cubicBezTo>
                    <a:pt x="247530" y="266840"/>
                    <a:pt x="241177" y="328131"/>
                    <a:pt x="204178" y="387180"/>
                  </a:cubicBezTo>
                  <a:cubicBezTo>
                    <a:pt x="191845" y="406613"/>
                    <a:pt x="177644" y="424926"/>
                    <a:pt x="162695" y="443239"/>
                  </a:cubicBezTo>
                  <a:cubicBezTo>
                    <a:pt x="151857" y="334111"/>
                    <a:pt x="125322" y="229468"/>
                    <a:pt x="99161" y="124451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52" name="Freeform: Shape 951">
              <a:extLst>
                <a:ext uri="{FF2B5EF4-FFF2-40B4-BE49-F238E27FC236}">
                  <a16:creationId xmlns:a16="http://schemas.microsoft.com/office/drawing/2014/main" id="{E5BFF7AC-22E5-4B12-A4CD-EF11E853C08D}"/>
                </a:ext>
              </a:extLst>
            </p:cNvPr>
            <p:cNvSpPr/>
            <p:nvPr/>
          </p:nvSpPr>
          <p:spPr>
            <a:xfrm>
              <a:off x="5223962" y="2015852"/>
              <a:ext cx="294148" cy="578152"/>
            </a:xfrm>
            <a:custGeom>
              <a:avLst/>
              <a:gdLst>
                <a:gd name="connsiteX0" fmla="*/ 155838 w 216760"/>
                <a:gd name="connsiteY0" fmla="*/ 427168 h 426047"/>
                <a:gd name="connsiteX1" fmla="*/ 2237 w 216760"/>
                <a:gd name="connsiteY1" fmla="*/ 227973 h 426047"/>
                <a:gd name="connsiteX2" fmla="*/ 9338 w 216760"/>
                <a:gd name="connsiteY2" fmla="*/ 4858 h 426047"/>
                <a:gd name="connsiteX3" fmla="*/ 10833 w 216760"/>
                <a:gd name="connsiteY3" fmla="*/ 0 h 426047"/>
                <a:gd name="connsiteX4" fmla="*/ 16065 w 216760"/>
                <a:gd name="connsiteY4" fmla="*/ 2242 h 426047"/>
                <a:gd name="connsiteX5" fmla="*/ 175646 w 216760"/>
                <a:gd name="connsiteY5" fmla="*/ 168550 h 426047"/>
                <a:gd name="connsiteX6" fmla="*/ 193959 w 216760"/>
                <a:gd name="connsiteY6" fmla="*/ 407361 h 426047"/>
                <a:gd name="connsiteX7" fmla="*/ 61286 w 216760"/>
                <a:gd name="connsiteY7" fmla="*/ 117350 h 426047"/>
                <a:gd name="connsiteX8" fmla="*/ 56054 w 216760"/>
                <a:gd name="connsiteY8" fmla="*/ 119592 h 426047"/>
                <a:gd name="connsiteX9" fmla="*/ 155838 w 216760"/>
                <a:gd name="connsiteY9" fmla="*/ 427168 h 426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6760" h="426047">
                  <a:moveTo>
                    <a:pt x="155838" y="427168"/>
                  </a:moveTo>
                  <a:cubicBezTo>
                    <a:pt x="67639" y="386432"/>
                    <a:pt x="8964" y="328131"/>
                    <a:pt x="2237" y="227973"/>
                  </a:cubicBezTo>
                  <a:cubicBezTo>
                    <a:pt x="-2621" y="153227"/>
                    <a:pt x="742" y="79230"/>
                    <a:pt x="9338" y="4858"/>
                  </a:cubicBezTo>
                  <a:cubicBezTo>
                    <a:pt x="9338" y="3364"/>
                    <a:pt x="10085" y="2242"/>
                    <a:pt x="10833" y="0"/>
                  </a:cubicBezTo>
                  <a:cubicBezTo>
                    <a:pt x="12702" y="747"/>
                    <a:pt x="14570" y="1495"/>
                    <a:pt x="16065" y="2242"/>
                  </a:cubicBezTo>
                  <a:cubicBezTo>
                    <a:pt x="74366" y="52695"/>
                    <a:pt x="128930" y="106886"/>
                    <a:pt x="175646" y="168550"/>
                  </a:cubicBezTo>
                  <a:cubicBezTo>
                    <a:pt x="234695" y="246285"/>
                    <a:pt x="227594" y="327010"/>
                    <a:pt x="193959" y="407361"/>
                  </a:cubicBezTo>
                  <a:cubicBezTo>
                    <a:pt x="150233" y="311687"/>
                    <a:pt x="105759" y="214518"/>
                    <a:pt x="61286" y="117350"/>
                  </a:cubicBezTo>
                  <a:cubicBezTo>
                    <a:pt x="59417" y="118097"/>
                    <a:pt x="57549" y="118845"/>
                    <a:pt x="56054" y="119592"/>
                  </a:cubicBezTo>
                  <a:cubicBezTo>
                    <a:pt x="84831" y="222367"/>
                    <a:pt x="112113" y="325515"/>
                    <a:pt x="155838" y="427168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53" name="Freeform: Shape 952">
              <a:extLst>
                <a:ext uri="{FF2B5EF4-FFF2-40B4-BE49-F238E27FC236}">
                  <a16:creationId xmlns:a16="http://schemas.microsoft.com/office/drawing/2014/main" id="{DBAEE411-3027-46E0-A95E-5C385BB9E781}"/>
                </a:ext>
              </a:extLst>
            </p:cNvPr>
            <p:cNvSpPr/>
            <p:nvPr/>
          </p:nvSpPr>
          <p:spPr>
            <a:xfrm>
              <a:off x="6693372" y="2009260"/>
              <a:ext cx="253576" cy="613653"/>
            </a:xfrm>
            <a:custGeom>
              <a:avLst/>
              <a:gdLst>
                <a:gd name="connsiteX0" fmla="*/ 63384 w 186862"/>
                <a:gd name="connsiteY0" fmla="*/ 444733 h 452207"/>
                <a:gd name="connsiteX1" fmla="*/ 9568 w 186862"/>
                <a:gd name="connsiteY1" fmla="*/ 222367 h 452207"/>
                <a:gd name="connsiteX2" fmla="*/ 107484 w 186862"/>
                <a:gd name="connsiteY2" fmla="*/ 2616 h 452207"/>
                <a:gd name="connsiteX3" fmla="*/ 111595 w 186862"/>
                <a:gd name="connsiteY3" fmla="*/ 0 h 452207"/>
                <a:gd name="connsiteX4" fmla="*/ 134766 w 186862"/>
                <a:gd name="connsiteY4" fmla="*/ 57554 h 452207"/>
                <a:gd name="connsiteX5" fmla="*/ 185966 w 186862"/>
                <a:gd name="connsiteY5" fmla="*/ 234700 h 452207"/>
                <a:gd name="connsiteX6" fmla="*/ 159058 w 186862"/>
                <a:gd name="connsiteY6" fmla="*/ 380453 h 452207"/>
                <a:gd name="connsiteX7" fmla="*/ 106363 w 186862"/>
                <a:gd name="connsiteY7" fmla="*/ 452955 h 452207"/>
                <a:gd name="connsiteX8" fmla="*/ 106363 w 186862"/>
                <a:gd name="connsiteY8" fmla="*/ 129683 h 452207"/>
                <a:gd name="connsiteX9" fmla="*/ 99262 w 186862"/>
                <a:gd name="connsiteY9" fmla="*/ 129309 h 452207"/>
                <a:gd name="connsiteX10" fmla="*/ 63384 w 186862"/>
                <a:gd name="connsiteY10" fmla="*/ 444733 h 45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6862" h="452207">
                  <a:moveTo>
                    <a:pt x="63384" y="444733"/>
                  </a:moveTo>
                  <a:cubicBezTo>
                    <a:pt x="12931" y="380079"/>
                    <a:pt x="-16219" y="308324"/>
                    <a:pt x="9568" y="222367"/>
                  </a:cubicBezTo>
                  <a:cubicBezTo>
                    <a:pt x="32739" y="145006"/>
                    <a:pt x="68243" y="72876"/>
                    <a:pt x="107484" y="2616"/>
                  </a:cubicBezTo>
                  <a:cubicBezTo>
                    <a:pt x="107858" y="1869"/>
                    <a:pt x="108979" y="1495"/>
                    <a:pt x="111595" y="0"/>
                  </a:cubicBezTo>
                  <a:cubicBezTo>
                    <a:pt x="119443" y="19434"/>
                    <a:pt x="127291" y="38494"/>
                    <a:pt x="134766" y="57554"/>
                  </a:cubicBezTo>
                  <a:cubicBezTo>
                    <a:pt x="156816" y="115107"/>
                    <a:pt x="175502" y="173409"/>
                    <a:pt x="185966" y="234700"/>
                  </a:cubicBezTo>
                  <a:cubicBezTo>
                    <a:pt x="194562" y="286648"/>
                    <a:pt x="187461" y="335979"/>
                    <a:pt x="159058" y="380453"/>
                  </a:cubicBezTo>
                  <a:cubicBezTo>
                    <a:pt x="143735" y="404745"/>
                    <a:pt x="125423" y="426795"/>
                    <a:pt x="106363" y="452955"/>
                  </a:cubicBezTo>
                  <a:cubicBezTo>
                    <a:pt x="106363" y="341959"/>
                    <a:pt x="106363" y="235821"/>
                    <a:pt x="106363" y="129683"/>
                  </a:cubicBezTo>
                  <a:cubicBezTo>
                    <a:pt x="104121" y="129683"/>
                    <a:pt x="101504" y="129309"/>
                    <a:pt x="99262" y="129309"/>
                  </a:cubicBezTo>
                  <a:cubicBezTo>
                    <a:pt x="87303" y="234326"/>
                    <a:pt x="75344" y="339717"/>
                    <a:pt x="63384" y="444733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54" name="Freeform: Shape 953">
              <a:extLst>
                <a:ext uri="{FF2B5EF4-FFF2-40B4-BE49-F238E27FC236}">
                  <a16:creationId xmlns:a16="http://schemas.microsoft.com/office/drawing/2014/main" id="{6E20C9EC-39A3-4FC4-83D9-ABE355AD3330}"/>
                </a:ext>
              </a:extLst>
            </p:cNvPr>
            <p:cNvSpPr/>
            <p:nvPr/>
          </p:nvSpPr>
          <p:spPr>
            <a:xfrm>
              <a:off x="7207301" y="2225306"/>
              <a:ext cx="243432" cy="593366"/>
            </a:xfrm>
            <a:custGeom>
              <a:avLst/>
              <a:gdLst>
                <a:gd name="connsiteX0" fmla="*/ 53531 w 179388"/>
                <a:gd name="connsiteY0" fmla="*/ 127440 h 437258"/>
                <a:gd name="connsiteX1" fmla="*/ 110711 w 179388"/>
                <a:gd name="connsiteY1" fmla="*/ 437259 h 437258"/>
                <a:gd name="connsiteX2" fmla="*/ 103984 w 179388"/>
                <a:gd name="connsiteY2" fmla="*/ 433148 h 437258"/>
                <a:gd name="connsiteX3" fmla="*/ 88 w 179388"/>
                <a:gd name="connsiteY3" fmla="*/ 230589 h 437258"/>
                <a:gd name="connsiteX4" fmla="*/ 6815 w 179388"/>
                <a:gd name="connsiteY4" fmla="*/ 116229 h 437258"/>
                <a:gd name="connsiteX5" fmla="*/ 23259 w 179388"/>
                <a:gd name="connsiteY5" fmla="*/ 10464 h 437258"/>
                <a:gd name="connsiteX6" fmla="*/ 25875 w 179388"/>
                <a:gd name="connsiteY6" fmla="*/ 0 h 437258"/>
                <a:gd name="connsiteX7" fmla="*/ 29986 w 179388"/>
                <a:gd name="connsiteY7" fmla="*/ 2990 h 437258"/>
                <a:gd name="connsiteX8" fmla="*/ 164153 w 179388"/>
                <a:gd name="connsiteY8" fmla="*/ 214892 h 437258"/>
                <a:gd name="connsiteX9" fmla="*/ 149952 w 179388"/>
                <a:gd name="connsiteY9" fmla="*/ 429411 h 437258"/>
                <a:gd name="connsiteX10" fmla="*/ 60258 w 179388"/>
                <a:gd name="connsiteY10" fmla="*/ 125946 h 437258"/>
                <a:gd name="connsiteX11" fmla="*/ 53531 w 179388"/>
                <a:gd name="connsiteY11" fmla="*/ 127440 h 43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9388" h="437258">
                  <a:moveTo>
                    <a:pt x="53531" y="127440"/>
                  </a:moveTo>
                  <a:cubicBezTo>
                    <a:pt x="72591" y="230962"/>
                    <a:pt x="92024" y="334484"/>
                    <a:pt x="110711" y="437259"/>
                  </a:cubicBezTo>
                  <a:cubicBezTo>
                    <a:pt x="109963" y="436885"/>
                    <a:pt x="106974" y="435390"/>
                    <a:pt x="103984" y="433148"/>
                  </a:cubicBezTo>
                  <a:cubicBezTo>
                    <a:pt x="38582" y="381574"/>
                    <a:pt x="-2154" y="316919"/>
                    <a:pt x="88" y="230589"/>
                  </a:cubicBezTo>
                  <a:cubicBezTo>
                    <a:pt x="1209" y="192469"/>
                    <a:pt x="3078" y="154349"/>
                    <a:pt x="6815" y="116229"/>
                  </a:cubicBezTo>
                  <a:cubicBezTo>
                    <a:pt x="10552" y="80725"/>
                    <a:pt x="17653" y="45595"/>
                    <a:pt x="23259" y="10464"/>
                  </a:cubicBezTo>
                  <a:cubicBezTo>
                    <a:pt x="23633" y="7101"/>
                    <a:pt x="24754" y="4111"/>
                    <a:pt x="25875" y="0"/>
                  </a:cubicBezTo>
                  <a:cubicBezTo>
                    <a:pt x="28117" y="1495"/>
                    <a:pt x="29239" y="1869"/>
                    <a:pt x="29986" y="2990"/>
                  </a:cubicBezTo>
                  <a:cubicBezTo>
                    <a:pt x="81560" y="69513"/>
                    <a:pt x="130145" y="137531"/>
                    <a:pt x="164153" y="214892"/>
                  </a:cubicBezTo>
                  <a:cubicBezTo>
                    <a:pt x="197041" y="289637"/>
                    <a:pt x="182092" y="360645"/>
                    <a:pt x="149952" y="429411"/>
                  </a:cubicBezTo>
                  <a:cubicBezTo>
                    <a:pt x="120054" y="328505"/>
                    <a:pt x="90156" y="227225"/>
                    <a:pt x="60258" y="125946"/>
                  </a:cubicBezTo>
                  <a:cubicBezTo>
                    <a:pt x="58389" y="126319"/>
                    <a:pt x="55773" y="126693"/>
                    <a:pt x="53531" y="127440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55" name="Freeform: Shape 954">
              <a:extLst>
                <a:ext uri="{FF2B5EF4-FFF2-40B4-BE49-F238E27FC236}">
                  <a16:creationId xmlns:a16="http://schemas.microsoft.com/office/drawing/2014/main" id="{BBAA4EFF-8760-487F-8C3B-83895F4F1AEB}"/>
                </a:ext>
              </a:extLst>
            </p:cNvPr>
            <p:cNvSpPr/>
            <p:nvPr/>
          </p:nvSpPr>
          <p:spPr>
            <a:xfrm>
              <a:off x="7515768" y="4176313"/>
              <a:ext cx="557866" cy="299218"/>
            </a:xfrm>
            <a:custGeom>
              <a:avLst/>
              <a:gdLst>
                <a:gd name="connsiteX0" fmla="*/ 290385 w 411098"/>
                <a:gd name="connsiteY0" fmla="*/ 54190 h 220498"/>
                <a:gd name="connsiteX1" fmla="*/ 0 w 411098"/>
                <a:gd name="connsiteY1" fmla="*/ 173409 h 220498"/>
                <a:gd name="connsiteX2" fmla="*/ 133046 w 411098"/>
                <a:gd name="connsiteY2" fmla="*/ 36999 h 220498"/>
                <a:gd name="connsiteX3" fmla="*/ 411472 w 411098"/>
                <a:gd name="connsiteY3" fmla="*/ 0 h 220498"/>
                <a:gd name="connsiteX4" fmla="*/ 409977 w 411098"/>
                <a:gd name="connsiteY4" fmla="*/ 5606 h 220498"/>
                <a:gd name="connsiteX5" fmla="*/ 243295 w 411098"/>
                <a:gd name="connsiteY5" fmla="*/ 171166 h 220498"/>
                <a:gd name="connsiteX6" fmla="*/ 18686 w 411098"/>
                <a:gd name="connsiteY6" fmla="*/ 210781 h 220498"/>
                <a:gd name="connsiteX7" fmla="*/ 17565 w 411098"/>
                <a:gd name="connsiteY7" fmla="*/ 210407 h 220498"/>
                <a:gd name="connsiteX8" fmla="*/ 293748 w 411098"/>
                <a:gd name="connsiteY8" fmla="*/ 61665 h 220498"/>
                <a:gd name="connsiteX9" fmla="*/ 290385 w 411098"/>
                <a:gd name="connsiteY9" fmla="*/ 54190 h 220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1098" h="220498">
                  <a:moveTo>
                    <a:pt x="290385" y="54190"/>
                  </a:moveTo>
                  <a:cubicBezTo>
                    <a:pt x="193590" y="94179"/>
                    <a:pt x="96421" y="133794"/>
                    <a:pt x="0" y="173409"/>
                  </a:cubicBezTo>
                  <a:cubicBezTo>
                    <a:pt x="29151" y="114360"/>
                    <a:pt x="66897" y="60917"/>
                    <a:pt x="133046" y="36999"/>
                  </a:cubicBezTo>
                  <a:cubicBezTo>
                    <a:pt x="222367" y="4485"/>
                    <a:pt x="316546" y="2616"/>
                    <a:pt x="411472" y="0"/>
                  </a:cubicBezTo>
                  <a:cubicBezTo>
                    <a:pt x="410724" y="2990"/>
                    <a:pt x="410724" y="4485"/>
                    <a:pt x="409977" y="5606"/>
                  </a:cubicBezTo>
                  <a:cubicBezTo>
                    <a:pt x="359150" y="65776"/>
                    <a:pt x="305334" y="122582"/>
                    <a:pt x="243295" y="171166"/>
                  </a:cubicBezTo>
                  <a:cubicBezTo>
                    <a:pt x="175277" y="224983"/>
                    <a:pt x="99411" y="230215"/>
                    <a:pt x="18686" y="210781"/>
                  </a:cubicBezTo>
                  <a:cubicBezTo>
                    <a:pt x="17191" y="210407"/>
                    <a:pt x="16070" y="209286"/>
                    <a:pt x="17565" y="210407"/>
                  </a:cubicBezTo>
                  <a:cubicBezTo>
                    <a:pt x="108754" y="161449"/>
                    <a:pt x="201064" y="111370"/>
                    <a:pt x="293748" y="61665"/>
                  </a:cubicBezTo>
                  <a:cubicBezTo>
                    <a:pt x="292627" y="59049"/>
                    <a:pt x="291506" y="56433"/>
                    <a:pt x="290385" y="54190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56" name="Freeform: Shape 955">
              <a:extLst>
                <a:ext uri="{FF2B5EF4-FFF2-40B4-BE49-F238E27FC236}">
                  <a16:creationId xmlns:a16="http://schemas.microsoft.com/office/drawing/2014/main" id="{5254C7C3-94EF-4062-9711-AC864B83CA5D}"/>
                </a:ext>
              </a:extLst>
            </p:cNvPr>
            <p:cNvSpPr/>
            <p:nvPr/>
          </p:nvSpPr>
          <p:spPr>
            <a:xfrm>
              <a:off x="5458895" y="2485473"/>
              <a:ext cx="238361" cy="603508"/>
            </a:xfrm>
            <a:custGeom>
              <a:avLst/>
              <a:gdLst>
                <a:gd name="connsiteX0" fmla="*/ 50357 w 175651"/>
                <a:gd name="connsiteY0" fmla="*/ 442491 h 444733"/>
                <a:gd name="connsiteX1" fmla="*/ 13358 w 175651"/>
                <a:gd name="connsiteY1" fmla="*/ 214892 h 444733"/>
                <a:gd name="connsiteX2" fmla="*/ 113890 w 175651"/>
                <a:gd name="connsiteY2" fmla="*/ 4485 h 444733"/>
                <a:gd name="connsiteX3" fmla="*/ 118748 w 175651"/>
                <a:gd name="connsiteY3" fmla="*/ 0 h 444733"/>
                <a:gd name="connsiteX4" fmla="*/ 147899 w 175651"/>
                <a:gd name="connsiteY4" fmla="*/ 99037 h 444733"/>
                <a:gd name="connsiteX5" fmla="*/ 173312 w 175651"/>
                <a:gd name="connsiteY5" fmla="*/ 227599 h 444733"/>
                <a:gd name="connsiteX6" fmla="*/ 109405 w 175651"/>
                <a:gd name="connsiteY6" fmla="*/ 427542 h 444733"/>
                <a:gd name="connsiteX7" fmla="*/ 91840 w 175651"/>
                <a:gd name="connsiteY7" fmla="*/ 445855 h 444733"/>
                <a:gd name="connsiteX8" fmla="*/ 90719 w 175651"/>
                <a:gd name="connsiteY8" fmla="*/ 446602 h 444733"/>
                <a:gd name="connsiteX9" fmla="*/ 107163 w 175651"/>
                <a:gd name="connsiteY9" fmla="*/ 133046 h 444733"/>
                <a:gd name="connsiteX10" fmla="*/ 99315 w 175651"/>
                <a:gd name="connsiteY10" fmla="*/ 132299 h 444733"/>
                <a:gd name="connsiteX11" fmla="*/ 50357 w 175651"/>
                <a:gd name="connsiteY11" fmla="*/ 442491 h 444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5651" h="444733">
                  <a:moveTo>
                    <a:pt x="50357" y="442491"/>
                  </a:moveTo>
                  <a:cubicBezTo>
                    <a:pt x="4762" y="372604"/>
                    <a:pt x="-15419" y="298233"/>
                    <a:pt x="13358" y="214892"/>
                  </a:cubicBezTo>
                  <a:cubicBezTo>
                    <a:pt x="39145" y="140895"/>
                    <a:pt x="74649" y="71755"/>
                    <a:pt x="113890" y="4485"/>
                  </a:cubicBezTo>
                  <a:cubicBezTo>
                    <a:pt x="114637" y="3364"/>
                    <a:pt x="116132" y="2616"/>
                    <a:pt x="118748" y="0"/>
                  </a:cubicBezTo>
                  <a:cubicBezTo>
                    <a:pt x="128839" y="34009"/>
                    <a:pt x="140051" y="66149"/>
                    <a:pt x="147899" y="99037"/>
                  </a:cubicBezTo>
                  <a:cubicBezTo>
                    <a:pt x="157990" y="141642"/>
                    <a:pt x="166212" y="184247"/>
                    <a:pt x="173312" y="227599"/>
                  </a:cubicBezTo>
                  <a:cubicBezTo>
                    <a:pt x="186019" y="304586"/>
                    <a:pt x="159858" y="370362"/>
                    <a:pt x="109405" y="427542"/>
                  </a:cubicBezTo>
                  <a:cubicBezTo>
                    <a:pt x="103799" y="433895"/>
                    <a:pt x="97820" y="439875"/>
                    <a:pt x="91840" y="445855"/>
                  </a:cubicBezTo>
                  <a:cubicBezTo>
                    <a:pt x="90719" y="446976"/>
                    <a:pt x="89598" y="447349"/>
                    <a:pt x="90719" y="446602"/>
                  </a:cubicBezTo>
                  <a:cubicBezTo>
                    <a:pt x="96325" y="343080"/>
                    <a:pt x="101557" y="238063"/>
                    <a:pt x="107163" y="133046"/>
                  </a:cubicBezTo>
                  <a:cubicBezTo>
                    <a:pt x="104547" y="132673"/>
                    <a:pt x="101931" y="132673"/>
                    <a:pt x="99315" y="132299"/>
                  </a:cubicBezTo>
                  <a:cubicBezTo>
                    <a:pt x="83244" y="235447"/>
                    <a:pt x="66801" y="338969"/>
                    <a:pt x="50357" y="442491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57" name="Freeform: Shape 956">
              <a:extLst>
                <a:ext uri="{FF2B5EF4-FFF2-40B4-BE49-F238E27FC236}">
                  <a16:creationId xmlns:a16="http://schemas.microsoft.com/office/drawing/2014/main" id="{16885E71-E38F-457C-BAA6-A15138123FBD}"/>
                </a:ext>
              </a:extLst>
            </p:cNvPr>
            <p:cNvSpPr/>
            <p:nvPr/>
          </p:nvSpPr>
          <p:spPr>
            <a:xfrm>
              <a:off x="4115323" y="4175807"/>
              <a:ext cx="557866" cy="299218"/>
            </a:xfrm>
            <a:custGeom>
              <a:avLst/>
              <a:gdLst>
                <a:gd name="connsiteX0" fmla="*/ 413714 w 411098"/>
                <a:gd name="connsiteY0" fmla="*/ 173783 h 220498"/>
                <a:gd name="connsiteX1" fmla="*/ 122956 w 411098"/>
                <a:gd name="connsiteY1" fmla="*/ 54564 h 220498"/>
                <a:gd name="connsiteX2" fmla="*/ 120340 w 411098"/>
                <a:gd name="connsiteY2" fmla="*/ 59796 h 220498"/>
                <a:gd name="connsiteX3" fmla="*/ 210408 w 411098"/>
                <a:gd name="connsiteY3" fmla="*/ 111370 h 220498"/>
                <a:gd name="connsiteX4" fmla="*/ 301970 w 411098"/>
                <a:gd name="connsiteY4" fmla="*/ 161449 h 220498"/>
                <a:gd name="connsiteX5" fmla="*/ 397644 w 411098"/>
                <a:gd name="connsiteY5" fmla="*/ 208913 h 220498"/>
                <a:gd name="connsiteX6" fmla="*/ 393907 w 411098"/>
                <a:gd name="connsiteY6" fmla="*/ 211529 h 220498"/>
                <a:gd name="connsiteX7" fmla="*/ 165934 w 411098"/>
                <a:gd name="connsiteY7" fmla="*/ 168550 h 220498"/>
                <a:gd name="connsiteX8" fmla="*/ 4858 w 411098"/>
                <a:gd name="connsiteY8" fmla="*/ 7475 h 220498"/>
                <a:gd name="connsiteX9" fmla="*/ 0 w 411098"/>
                <a:gd name="connsiteY9" fmla="*/ 0 h 220498"/>
                <a:gd name="connsiteX10" fmla="*/ 96047 w 411098"/>
                <a:gd name="connsiteY10" fmla="*/ 4859 h 220498"/>
                <a:gd name="connsiteX11" fmla="*/ 258992 w 411098"/>
                <a:gd name="connsiteY11" fmla="*/ 31019 h 220498"/>
                <a:gd name="connsiteX12" fmla="*/ 413714 w 411098"/>
                <a:gd name="connsiteY12" fmla="*/ 173783 h 220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11098" h="220498">
                  <a:moveTo>
                    <a:pt x="413714" y="173783"/>
                  </a:moveTo>
                  <a:cubicBezTo>
                    <a:pt x="316546" y="133794"/>
                    <a:pt x="219751" y="94179"/>
                    <a:pt x="122956" y="54564"/>
                  </a:cubicBezTo>
                  <a:cubicBezTo>
                    <a:pt x="122208" y="56433"/>
                    <a:pt x="121087" y="57927"/>
                    <a:pt x="120340" y="59796"/>
                  </a:cubicBezTo>
                  <a:cubicBezTo>
                    <a:pt x="150238" y="76987"/>
                    <a:pt x="180136" y="94553"/>
                    <a:pt x="210408" y="111370"/>
                  </a:cubicBezTo>
                  <a:cubicBezTo>
                    <a:pt x="240679" y="128188"/>
                    <a:pt x="270951" y="145379"/>
                    <a:pt x="301970" y="161449"/>
                  </a:cubicBezTo>
                  <a:cubicBezTo>
                    <a:pt x="333363" y="177520"/>
                    <a:pt x="365130" y="192842"/>
                    <a:pt x="397644" y="208913"/>
                  </a:cubicBezTo>
                  <a:cubicBezTo>
                    <a:pt x="396523" y="209660"/>
                    <a:pt x="395028" y="211155"/>
                    <a:pt x="393907" y="211529"/>
                  </a:cubicBezTo>
                  <a:cubicBezTo>
                    <a:pt x="311313" y="231336"/>
                    <a:pt x="234700" y="223862"/>
                    <a:pt x="165934" y="168550"/>
                  </a:cubicBezTo>
                  <a:cubicBezTo>
                    <a:pt x="106512" y="120340"/>
                    <a:pt x="54190" y="65776"/>
                    <a:pt x="4858" y="7475"/>
                  </a:cubicBezTo>
                  <a:cubicBezTo>
                    <a:pt x="3737" y="5980"/>
                    <a:pt x="2990" y="4485"/>
                    <a:pt x="0" y="0"/>
                  </a:cubicBezTo>
                  <a:cubicBezTo>
                    <a:pt x="34009" y="1495"/>
                    <a:pt x="65402" y="747"/>
                    <a:pt x="96047" y="4859"/>
                  </a:cubicBezTo>
                  <a:cubicBezTo>
                    <a:pt x="150611" y="11959"/>
                    <a:pt x="205549" y="18313"/>
                    <a:pt x="258992" y="31019"/>
                  </a:cubicBezTo>
                  <a:cubicBezTo>
                    <a:pt x="336727" y="48958"/>
                    <a:pt x="380453" y="107633"/>
                    <a:pt x="413714" y="173783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58" name="Freeform: Shape 957">
              <a:extLst>
                <a:ext uri="{FF2B5EF4-FFF2-40B4-BE49-F238E27FC236}">
                  <a16:creationId xmlns:a16="http://schemas.microsoft.com/office/drawing/2014/main" id="{2EBFB709-1837-4E34-893F-CF68AC69040F}"/>
                </a:ext>
              </a:extLst>
            </p:cNvPr>
            <p:cNvSpPr/>
            <p:nvPr/>
          </p:nvSpPr>
          <p:spPr>
            <a:xfrm>
              <a:off x="7025905" y="3379580"/>
              <a:ext cx="248504" cy="593366"/>
            </a:xfrm>
            <a:custGeom>
              <a:avLst/>
              <a:gdLst>
                <a:gd name="connsiteX0" fmla="*/ 71348 w 183125"/>
                <a:gd name="connsiteY0" fmla="*/ 437259 h 437258"/>
                <a:gd name="connsiteX1" fmla="*/ 133013 w 183125"/>
                <a:gd name="connsiteY1" fmla="*/ 128935 h 437258"/>
                <a:gd name="connsiteX2" fmla="*/ 125538 w 183125"/>
                <a:gd name="connsiteY2" fmla="*/ 127067 h 437258"/>
                <a:gd name="connsiteX3" fmla="*/ 31733 w 183125"/>
                <a:gd name="connsiteY3" fmla="*/ 427168 h 437258"/>
                <a:gd name="connsiteX4" fmla="*/ 18653 w 183125"/>
                <a:gd name="connsiteY4" fmla="*/ 219751 h 437258"/>
                <a:gd name="connsiteX5" fmla="*/ 100125 w 183125"/>
                <a:gd name="connsiteY5" fmla="*/ 79977 h 437258"/>
                <a:gd name="connsiteX6" fmla="*/ 159174 w 183125"/>
                <a:gd name="connsiteY6" fmla="*/ 0 h 437258"/>
                <a:gd name="connsiteX7" fmla="*/ 163285 w 183125"/>
                <a:gd name="connsiteY7" fmla="*/ 747 h 437258"/>
                <a:gd name="connsiteX8" fmla="*/ 173002 w 183125"/>
                <a:gd name="connsiteY8" fmla="*/ 61291 h 437258"/>
                <a:gd name="connsiteX9" fmla="*/ 183839 w 183125"/>
                <a:gd name="connsiteY9" fmla="*/ 251144 h 437258"/>
                <a:gd name="connsiteX10" fmla="*/ 71348 w 183125"/>
                <a:gd name="connsiteY10" fmla="*/ 437259 h 43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3125" h="437258">
                  <a:moveTo>
                    <a:pt x="71348" y="437259"/>
                  </a:moveTo>
                  <a:cubicBezTo>
                    <a:pt x="91903" y="335232"/>
                    <a:pt x="112458" y="232084"/>
                    <a:pt x="133013" y="128935"/>
                  </a:cubicBezTo>
                  <a:cubicBezTo>
                    <a:pt x="130397" y="128188"/>
                    <a:pt x="127781" y="127814"/>
                    <a:pt x="125538" y="127067"/>
                  </a:cubicBezTo>
                  <a:cubicBezTo>
                    <a:pt x="94145" y="227225"/>
                    <a:pt x="63126" y="327384"/>
                    <a:pt x="31733" y="427168"/>
                  </a:cubicBezTo>
                  <a:cubicBezTo>
                    <a:pt x="1461" y="360645"/>
                    <a:pt x="-14983" y="290385"/>
                    <a:pt x="18653" y="219751"/>
                  </a:cubicBezTo>
                  <a:cubicBezTo>
                    <a:pt x="41824" y="171166"/>
                    <a:pt x="71348" y="125572"/>
                    <a:pt x="100125" y="79977"/>
                  </a:cubicBezTo>
                  <a:cubicBezTo>
                    <a:pt x="117690" y="51948"/>
                    <a:pt x="139366" y="26535"/>
                    <a:pt x="159174" y="0"/>
                  </a:cubicBezTo>
                  <a:cubicBezTo>
                    <a:pt x="160668" y="374"/>
                    <a:pt x="161790" y="374"/>
                    <a:pt x="163285" y="747"/>
                  </a:cubicBezTo>
                  <a:cubicBezTo>
                    <a:pt x="166648" y="20929"/>
                    <a:pt x="170012" y="41110"/>
                    <a:pt x="173002" y="61291"/>
                  </a:cubicBezTo>
                  <a:cubicBezTo>
                    <a:pt x="181971" y="124451"/>
                    <a:pt x="187951" y="187610"/>
                    <a:pt x="183839" y="251144"/>
                  </a:cubicBezTo>
                  <a:cubicBezTo>
                    <a:pt x="178981" y="333737"/>
                    <a:pt x="132639" y="390917"/>
                    <a:pt x="71348" y="437259"/>
                  </a:cubicBezTo>
                  <a:close/>
                </a:path>
              </a:pathLst>
            </a:custGeom>
            <a:solidFill>
              <a:srgbClr val="0070C0"/>
            </a:solidFill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59" name="Freeform: Shape 958">
              <a:extLst>
                <a:ext uri="{FF2B5EF4-FFF2-40B4-BE49-F238E27FC236}">
                  <a16:creationId xmlns:a16="http://schemas.microsoft.com/office/drawing/2014/main" id="{4EB62342-BF6D-46EC-8F35-6FCACE52DCC6}"/>
                </a:ext>
              </a:extLst>
            </p:cNvPr>
            <p:cNvSpPr/>
            <p:nvPr/>
          </p:nvSpPr>
          <p:spPr>
            <a:xfrm>
              <a:off x="4912906" y="3379580"/>
              <a:ext cx="248504" cy="593366"/>
            </a:xfrm>
            <a:custGeom>
              <a:avLst/>
              <a:gdLst>
                <a:gd name="connsiteX0" fmla="*/ 24041 w 183125"/>
                <a:gd name="connsiteY0" fmla="*/ 0 h 437258"/>
                <a:gd name="connsiteX1" fmla="*/ 28152 w 183125"/>
                <a:gd name="connsiteY1" fmla="*/ 2616 h 437258"/>
                <a:gd name="connsiteX2" fmla="*/ 164936 w 183125"/>
                <a:gd name="connsiteY2" fmla="*/ 211155 h 437258"/>
                <a:gd name="connsiteX3" fmla="*/ 154471 w 183125"/>
                <a:gd name="connsiteY3" fmla="*/ 426795 h 437258"/>
                <a:gd name="connsiteX4" fmla="*/ 61040 w 183125"/>
                <a:gd name="connsiteY4" fmla="*/ 127067 h 437258"/>
                <a:gd name="connsiteX5" fmla="*/ 55434 w 183125"/>
                <a:gd name="connsiteY5" fmla="*/ 128562 h 437258"/>
                <a:gd name="connsiteX6" fmla="*/ 72999 w 183125"/>
                <a:gd name="connsiteY6" fmla="*/ 230589 h 437258"/>
                <a:gd name="connsiteX7" fmla="*/ 93180 w 183125"/>
                <a:gd name="connsiteY7" fmla="*/ 334484 h 437258"/>
                <a:gd name="connsiteX8" fmla="*/ 118594 w 183125"/>
                <a:gd name="connsiteY8" fmla="*/ 439875 h 437258"/>
                <a:gd name="connsiteX9" fmla="*/ 89817 w 183125"/>
                <a:gd name="connsiteY9" fmla="*/ 416704 h 437258"/>
                <a:gd name="connsiteX10" fmla="*/ 123 w 183125"/>
                <a:gd name="connsiteY10" fmla="*/ 211529 h 437258"/>
                <a:gd name="connsiteX11" fmla="*/ 21425 w 183125"/>
                <a:gd name="connsiteY11" fmla="*/ 7475 h 437258"/>
                <a:gd name="connsiteX12" fmla="*/ 24041 w 183125"/>
                <a:gd name="connsiteY12" fmla="*/ 0 h 43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3125" h="437258">
                  <a:moveTo>
                    <a:pt x="24041" y="0"/>
                  </a:moveTo>
                  <a:cubicBezTo>
                    <a:pt x="25910" y="1121"/>
                    <a:pt x="27405" y="1495"/>
                    <a:pt x="28152" y="2616"/>
                  </a:cubicBezTo>
                  <a:cubicBezTo>
                    <a:pt x="80100" y="68018"/>
                    <a:pt x="129806" y="134915"/>
                    <a:pt x="164936" y="211155"/>
                  </a:cubicBezTo>
                  <a:cubicBezTo>
                    <a:pt x="199319" y="285526"/>
                    <a:pt x="185864" y="356908"/>
                    <a:pt x="154471" y="426795"/>
                  </a:cubicBezTo>
                  <a:cubicBezTo>
                    <a:pt x="123452" y="327010"/>
                    <a:pt x="92059" y="226851"/>
                    <a:pt x="61040" y="127067"/>
                  </a:cubicBezTo>
                  <a:cubicBezTo>
                    <a:pt x="59171" y="127440"/>
                    <a:pt x="57303" y="127814"/>
                    <a:pt x="55434" y="128562"/>
                  </a:cubicBezTo>
                  <a:cubicBezTo>
                    <a:pt x="61414" y="162571"/>
                    <a:pt x="67020" y="196580"/>
                    <a:pt x="72999" y="230589"/>
                  </a:cubicBezTo>
                  <a:cubicBezTo>
                    <a:pt x="79353" y="265345"/>
                    <a:pt x="85706" y="300102"/>
                    <a:pt x="93180" y="334484"/>
                  </a:cubicBezTo>
                  <a:cubicBezTo>
                    <a:pt x="100655" y="368867"/>
                    <a:pt x="109624" y="402876"/>
                    <a:pt x="118594" y="439875"/>
                  </a:cubicBezTo>
                  <a:cubicBezTo>
                    <a:pt x="107756" y="431279"/>
                    <a:pt x="98786" y="424179"/>
                    <a:pt x="89817" y="416704"/>
                  </a:cubicBezTo>
                  <a:cubicBezTo>
                    <a:pt x="26284" y="363261"/>
                    <a:pt x="-2120" y="294122"/>
                    <a:pt x="123" y="211529"/>
                  </a:cubicBezTo>
                  <a:cubicBezTo>
                    <a:pt x="1991" y="142763"/>
                    <a:pt x="9466" y="74745"/>
                    <a:pt x="21425" y="7475"/>
                  </a:cubicBezTo>
                  <a:cubicBezTo>
                    <a:pt x="22173" y="4859"/>
                    <a:pt x="22920" y="2616"/>
                    <a:pt x="24041" y="0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60" name="Freeform: Shape 959">
              <a:extLst>
                <a:ext uri="{FF2B5EF4-FFF2-40B4-BE49-F238E27FC236}">
                  <a16:creationId xmlns:a16="http://schemas.microsoft.com/office/drawing/2014/main" id="{ABBFD5F6-A1F7-4B8A-9AFA-9B05EA8827D4}"/>
                </a:ext>
              </a:extLst>
            </p:cNvPr>
            <p:cNvSpPr/>
            <p:nvPr/>
          </p:nvSpPr>
          <p:spPr>
            <a:xfrm>
              <a:off x="4717381" y="2246099"/>
              <a:ext cx="248504" cy="593366"/>
            </a:xfrm>
            <a:custGeom>
              <a:avLst/>
              <a:gdLst>
                <a:gd name="connsiteX0" fmla="*/ 72826 w 183125"/>
                <a:gd name="connsiteY0" fmla="*/ 439128 h 437258"/>
                <a:gd name="connsiteX1" fmla="*/ 130753 w 183125"/>
                <a:gd name="connsiteY1" fmla="*/ 124824 h 437258"/>
                <a:gd name="connsiteX2" fmla="*/ 124026 w 183125"/>
                <a:gd name="connsiteY2" fmla="*/ 122956 h 437258"/>
                <a:gd name="connsiteX3" fmla="*/ 33211 w 183125"/>
                <a:gd name="connsiteY3" fmla="*/ 429411 h 437258"/>
                <a:gd name="connsiteX4" fmla="*/ 15272 w 183125"/>
                <a:gd name="connsiteY4" fmla="*/ 227973 h 437258"/>
                <a:gd name="connsiteX5" fmla="*/ 78805 w 183125"/>
                <a:gd name="connsiteY5" fmla="*/ 108754 h 437258"/>
                <a:gd name="connsiteX6" fmla="*/ 154298 w 183125"/>
                <a:gd name="connsiteY6" fmla="*/ 0 h 437258"/>
                <a:gd name="connsiteX7" fmla="*/ 158782 w 183125"/>
                <a:gd name="connsiteY7" fmla="*/ 747 h 437258"/>
                <a:gd name="connsiteX8" fmla="*/ 169247 w 183125"/>
                <a:gd name="connsiteY8" fmla="*/ 59422 h 437258"/>
                <a:gd name="connsiteX9" fmla="*/ 183075 w 183125"/>
                <a:gd name="connsiteY9" fmla="*/ 252265 h 437258"/>
                <a:gd name="connsiteX10" fmla="*/ 72826 w 183125"/>
                <a:gd name="connsiteY10" fmla="*/ 439128 h 43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3125" h="437258">
                  <a:moveTo>
                    <a:pt x="72826" y="439128"/>
                  </a:moveTo>
                  <a:cubicBezTo>
                    <a:pt x="92259" y="334484"/>
                    <a:pt x="111319" y="229841"/>
                    <a:pt x="130753" y="124824"/>
                  </a:cubicBezTo>
                  <a:cubicBezTo>
                    <a:pt x="128511" y="124077"/>
                    <a:pt x="126268" y="123703"/>
                    <a:pt x="124026" y="122956"/>
                  </a:cubicBezTo>
                  <a:cubicBezTo>
                    <a:pt x="93754" y="225357"/>
                    <a:pt x="63109" y="327757"/>
                    <a:pt x="33211" y="429411"/>
                  </a:cubicBezTo>
                  <a:cubicBezTo>
                    <a:pt x="3686" y="365877"/>
                    <a:pt x="-14626" y="298233"/>
                    <a:pt x="15272" y="227973"/>
                  </a:cubicBezTo>
                  <a:cubicBezTo>
                    <a:pt x="32837" y="186489"/>
                    <a:pt x="55260" y="146874"/>
                    <a:pt x="78805" y="108754"/>
                  </a:cubicBezTo>
                  <a:cubicBezTo>
                    <a:pt x="101976" y="71382"/>
                    <a:pt x="128884" y="36251"/>
                    <a:pt x="154298" y="0"/>
                  </a:cubicBezTo>
                  <a:cubicBezTo>
                    <a:pt x="155793" y="374"/>
                    <a:pt x="157288" y="374"/>
                    <a:pt x="158782" y="747"/>
                  </a:cubicBezTo>
                  <a:cubicBezTo>
                    <a:pt x="162146" y="20181"/>
                    <a:pt x="165883" y="39615"/>
                    <a:pt x="169247" y="59422"/>
                  </a:cubicBezTo>
                  <a:cubicBezTo>
                    <a:pt x="179711" y="123329"/>
                    <a:pt x="186438" y="187237"/>
                    <a:pt x="183075" y="252265"/>
                  </a:cubicBezTo>
                  <a:cubicBezTo>
                    <a:pt x="178590" y="334858"/>
                    <a:pt x="132995" y="392038"/>
                    <a:pt x="72826" y="439128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61" name="Freeform: Shape 960">
              <a:extLst>
                <a:ext uri="{FF2B5EF4-FFF2-40B4-BE49-F238E27FC236}">
                  <a16:creationId xmlns:a16="http://schemas.microsoft.com/office/drawing/2014/main" id="{29F20F7F-14CA-4EDF-919B-4643717623E2}"/>
                </a:ext>
              </a:extLst>
            </p:cNvPr>
            <p:cNvSpPr/>
            <p:nvPr/>
          </p:nvSpPr>
          <p:spPr>
            <a:xfrm>
              <a:off x="6006760" y="2714198"/>
              <a:ext cx="248504" cy="593366"/>
            </a:xfrm>
            <a:custGeom>
              <a:avLst/>
              <a:gdLst>
                <a:gd name="connsiteX0" fmla="*/ 70433 w 183125"/>
                <a:gd name="connsiteY0" fmla="*/ 438380 h 437258"/>
                <a:gd name="connsiteX1" fmla="*/ 132472 w 183125"/>
                <a:gd name="connsiteY1" fmla="*/ 128188 h 437258"/>
                <a:gd name="connsiteX2" fmla="*/ 124997 w 183125"/>
                <a:gd name="connsiteY2" fmla="*/ 126319 h 437258"/>
                <a:gd name="connsiteX3" fmla="*/ 30818 w 183125"/>
                <a:gd name="connsiteY3" fmla="*/ 427916 h 437258"/>
                <a:gd name="connsiteX4" fmla="*/ 1294 w 183125"/>
                <a:gd name="connsiteY4" fmla="*/ 327384 h 437258"/>
                <a:gd name="connsiteX5" fmla="*/ 19233 w 183125"/>
                <a:gd name="connsiteY5" fmla="*/ 215640 h 437258"/>
                <a:gd name="connsiteX6" fmla="*/ 160501 w 183125"/>
                <a:gd name="connsiteY6" fmla="*/ 0 h 437258"/>
                <a:gd name="connsiteX7" fmla="*/ 163865 w 183125"/>
                <a:gd name="connsiteY7" fmla="*/ 8969 h 437258"/>
                <a:gd name="connsiteX8" fmla="*/ 183672 w 183125"/>
                <a:gd name="connsiteY8" fmla="*/ 248901 h 437258"/>
                <a:gd name="connsiteX9" fmla="*/ 70433 w 183125"/>
                <a:gd name="connsiteY9" fmla="*/ 438380 h 437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3125" h="437258">
                  <a:moveTo>
                    <a:pt x="70433" y="438380"/>
                  </a:moveTo>
                  <a:cubicBezTo>
                    <a:pt x="91362" y="334858"/>
                    <a:pt x="111917" y="231710"/>
                    <a:pt x="132472" y="128188"/>
                  </a:cubicBezTo>
                  <a:cubicBezTo>
                    <a:pt x="129856" y="127440"/>
                    <a:pt x="127613" y="127067"/>
                    <a:pt x="124997" y="126319"/>
                  </a:cubicBezTo>
                  <a:cubicBezTo>
                    <a:pt x="93604" y="226851"/>
                    <a:pt x="62211" y="327757"/>
                    <a:pt x="30818" y="427916"/>
                  </a:cubicBezTo>
                  <a:cubicBezTo>
                    <a:pt x="15496" y="397644"/>
                    <a:pt x="5405" y="363261"/>
                    <a:pt x="1294" y="327384"/>
                  </a:cubicBezTo>
                  <a:cubicBezTo>
                    <a:pt x="-2817" y="288516"/>
                    <a:pt x="2789" y="251144"/>
                    <a:pt x="19233" y="215640"/>
                  </a:cubicBezTo>
                  <a:cubicBezTo>
                    <a:pt x="54737" y="137157"/>
                    <a:pt x="105937" y="68766"/>
                    <a:pt x="160501" y="0"/>
                  </a:cubicBezTo>
                  <a:cubicBezTo>
                    <a:pt x="161996" y="4111"/>
                    <a:pt x="163491" y="6727"/>
                    <a:pt x="163865" y="8969"/>
                  </a:cubicBezTo>
                  <a:cubicBezTo>
                    <a:pt x="177693" y="88199"/>
                    <a:pt x="187409" y="168177"/>
                    <a:pt x="183672" y="248901"/>
                  </a:cubicBezTo>
                  <a:cubicBezTo>
                    <a:pt x="179561" y="333363"/>
                    <a:pt x="133219" y="391664"/>
                    <a:pt x="70433" y="438380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62" name="Freeform: Shape 961">
              <a:extLst>
                <a:ext uri="{FF2B5EF4-FFF2-40B4-BE49-F238E27FC236}">
                  <a16:creationId xmlns:a16="http://schemas.microsoft.com/office/drawing/2014/main" id="{525D5D5F-9F03-4F8B-8DA7-08D0BF467873}"/>
                </a:ext>
              </a:extLst>
            </p:cNvPr>
            <p:cNvSpPr/>
            <p:nvPr/>
          </p:nvSpPr>
          <p:spPr>
            <a:xfrm>
              <a:off x="6340735" y="1899209"/>
              <a:ext cx="233290" cy="517293"/>
            </a:xfrm>
            <a:custGeom>
              <a:avLst/>
              <a:gdLst>
                <a:gd name="connsiteX0" fmla="*/ 111719 w 171913"/>
                <a:gd name="connsiteY0" fmla="*/ 0 h 381200"/>
                <a:gd name="connsiteX1" fmla="*/ 174505 w 171913"/>
                <a:gd name="connsiteY1" fmla="*/ 229841 h 381200"/>
                <a:gd name="connsiteX2" fmla="*/ 149465 w 171913"/>
                <a:gd name="connsiteY2" fmla="*/ 313929 h 381200"/>
                <a:gd name="connsiteX3" fmla="*/ 92659 w 171913"/>
                <a:gd name="connsiteY3" fmla="*/ 382695 h 381200"/>
                <a:gd name="connsiteX4" fmla="*/ 104245 w 171913"/>
                <a:gd name="connsiteY4" fmla="*/ 111370 h 381200"/>
                <a:gd name="connsiteX5" fmla="*/ 96770 w 171913"/>
                <a:gd name="connsiteY5" fmla="*/ 110623 h 381200"/>
                <a:gd name="connsiteX6" fmla="*/ 52297 w 171913"/>
                <a:gd name="connsiteY6" fmla="*/ 371857 h 381200"/>
                <a:gd name="connsiteX7" fmla="*/ 4834 w 171913"/>
                <a:gd name="connsiteY7" fmla="*/ 202933 h 381200"/>
                <a:gd name="connsiteX8" fmla="*/ 81074 w 171913"/>
                <a:gd name="connsiteY8" fmla="*/ 47089 h 381200"/>
                <a:gd name="connsiteX9" fmla="*/ 111719 w 171913"/>
                <a:gd name="connsiteY9" fmla="*/ 0 h 381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1913" h="381200">
                  <a:moveTo>
                    <a:pt x="111719" y="0"/>
                  </a:moveTo>
                  <a:cubicBezTo>
                    <a:pt x="141617" y="76240"/>
                    <a:pt x="170768" y="149490"/>
                    <a:pt x="174505" y="229841"/>
                  </a:cubicBezTo>
                  <a:cubicBezTo>
                    <a:pt x="176000" y="260487"/>
                    <a:pt x="167031" y="289264"/>
                    <a:pt x="149465" y="313929"/>
                  </a:cubicBezTo>
                  <a:cubicBezTo>
                    <a:pt x="132648" y="337100"/>
                    <a:pt x="113214" y="358029"/>
                    <a:pt x="92659" y="382695"/>
                  </a:cubicBezTo>
                  <a:cubicBezTo>
                    <a:pt x="96770" y="288516"/>
                    <a:pt x="100507" y="199943"/>
                    <a:pt x="104245" y="111370"/>
                  </a:cubicBezTo>
                  <a:cubicBezTo>
                    <a:pt x="101629" y="110996"/>
                    <a:pt x="99386" y="110996"/>
                    <a:pt x="96770" y="110623"/>
                  </a:cubicBezTo>
                  <a:cubicBezTo>
                    <a:pt x="81821" y="198075"/>
                    <a:pt x="66872" y="285900"/>
                    <a:pt x="52297" y="371857"/>
                  </a:cubicBezTo>
                  <a:cubicBezTo>
                    <a:pt x="13429" y="341211"/>
                    <a:pt x="-10863" y="258618"/>
                    <a:pt x="4834" y="202933"/>
                  </a:cubicBezTo>
                  <a:cubicBezTo>
                    <a:pt x="20904" y="146500"/>
                    <a:pt x="50428" y="96421"/>
                    <a:pt x="81074" y="47089"/>
                  </a:cubicBezTo>
                  <a:cubicBezTo>
                    <a:pt x="90417" y="31767"/>
                    <a:pt x="100507" y="17191"/>
                    <a:pt x="111719" y="0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63" name="Freeform: Shape 962">
              <a:extLst>
                <a:ext uri="{FF2B5EF4-FFF2-40B4-BE49-F238E27FC236}">
                  <a16:creationId xmlns:a16="http://schemas.microsoft.com/office/drawing/2014/main" id="{2F8EED51-E7CC-48F6-B2E1-E0F417E381A1}"/>
                </a:ext>
              </a:extLst>
            </p:cNvPr>
            <p:cNvSpPr/>
            <p:nvPr/>
          </p:nvSpPr>
          <p:spPr>
            <a:xfrm>
              <a:off x="7444258" y="4536496"/>
              <a:ext cx="456435" cy="263718"/>
            </a:xfrm>
            <a:custGeom>
              <a:avLst/>
              <a:gdLst>
                <a:gd name="connsiteX0" fmla="*/ 333737 w 336352"/>
                <a:gd name="connsiteY0" fmla="*/ 190896 h 194337"/>
                <a:gd name="connsiteX1" fmla="*/ 124824 w 336352"/>
                <a:gd name="connsiteY1" fmla="*/ 184169 h 194337"/>
                <a:gd name="connsiteX2" fmla="*/ 40363 w 336352"/>
                <a:gd name="connsiteY2" fmla="*/ 127362 h 194337"/>
                <a:gd name="connsiteX3" fmla="*/ 0 w 336352"/>
                <a:gd name="connsiteY3" fmla="*/ 54486 h 194337"/>
                <a:gd name="connsiteX4" fmla="*/ 238811 w 336352"/>
                <a:gd name="connsiteY4" fmla="*/ 148291 h 194337"/>
                <a:gd name="connsiteX5" fmla="*/ 242174 w 336352"/>
                <a:gd name="connsiteY5" fmla="*/ 141564 h 194337"/>
                <a:gd name="connsiteX6" fmla="*/ 23171 w 336352"/>
                <a:gd name="connsiteY6" fmla="*/ 19730 h 194337"/>
                <a:gd name="connsiteX7" fmla="*/ 189479 w 336352"/>
                <a:gd name="connsiteY7" fmla="*/ 26083 h 194337"/>
                <a:gd name="connsiteX8" fmla="*/ 267214 w 336352"/>
                <a:gd name="connsiteY8" fmla="*/ 99707 h 194337"/>
                <a:gd name="connsiteX9" fmla="*/ 336353 w 336352"/>
                <a:gd name="connsiteY9" fmla="*/ 186785 h 194337"/>
                <a:gd name="connsiteX10" fmla="*/ 333737 w 336352"/>
                <a:gd name="connsiteY10" fmla="*/ 190896 h 19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6352" h="194337">
                  <a:moveTo>
                    <a:pt x="333737" y="190896"/>
                  </a:moveTo>
                  <a:cubicBezTo>
                    <a:pt x="263850" y="196128"/>
                    <a:pt x="193964" y="199118"/>
                    <a:pt x="124824" y="184169"/>
                  </a:cubicBezTo>
                  <a:cubicBezTo>
                    <a:pt x="89321" y="176694"/>
                    <a:pt x="60170" y="157634"/>
                    <a:pt x="40363" y="127362"/>
                  </a:cubicBezTo>
                  <a:cubicBezTo>
                    <a:pt x="25414" y="104939"/>
                    <a:pt x="13828" y="79899"/>
                    <a:pt x="0" y="54486"/>
                  </a:cubicBezTo>
                  <a:cubicBezTo>
                    <a:pt x="82220" y="86626"/>
                    <a:pt x="160328" y="117646"/>
                    <a:pt x="238811" y="148291"/>
                  </a:cubicBezTo>
                  <a:cubicBezTo>
                    <a:pt x="239932" y="146049"/>
                    <a:pt x="241053" y="143806"/>
                    <a:pt x="242174" y="141564"/>
                  </a:cubicBezTo>
                  <a:cubicBezTo>
                    <a:pt x="168550" y="100828"/>
                    <a:pt x="95300" y="59718"/>
                    <a:pt x="23171" y="19730"/>
                  </a:cubicBezTo>
                  <a:cubicBezTo>
                    <a:pt x="65402" y="-7552"/>
                    <a:pt x="145753" y="-7552"/>
                    <a:pt x="189479" y="26083"/>
                  </a:cubicBezTo>
                  <a:cubicBezTo>
                    <a:pt x="217508" y="47759"/>
                    <a:pt x="243295" y="73172"/>
                    <a:pt x="267214" y="99707"/>
                  </a:cubicBezTo>
                  <a:cubicBezTo>
                    <a:pt x="291880" y="126989"/>
                    <a:pt x="313556" y="157634"/>
                    <a:pt x="336353" y="186785"/>
                  </a:cubicBezTo>
                  <a:cubicBezTo>
                    <a:pt x="335606" y="188280"/>
                    <a:pt x="334484" y="189775"/>
                    <a:pt x="333737" y="190896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64" name="Freeform: Shape 963">
              <a:extLst>
                <a:ext uri="{FF2B5EF4-FFF2-40B4-BE49-F238E27FC236}">
                  <a16:creationId xmlns:a16="http://schemas.microsoft.com/office/drawing/2014/main" id="{72DF8BCF-365B-4092-B3CB-89B4FC4BB1F4}"/>
                </a:ext>
              </a:extLst>
            </p:cNvPr>
            <p:cNvSpPr/>
            <p:nvPr/>
          </p:nvSpPr>
          <p:spPr>
            <a:xfrm>
              <a:off x="4293334" y="4537874"/>
              <a:ext cx="446292" cy="263718"/>
            </a:xfrm>
            <a:custGeom>
              <a:avLst/>
              <a:gdLst>
                <a:gd name="connsiteX0" fmla="*/ 312435 w 328878"/>
                <a:gd name="connsiteY0" fmla="*/ 18340 h 194337"/>
                <a:gd name="connsiteX1" fmla="*/ 91936 w 328878"/>
                <a:gd name="connsiteY1" fmla="*/ 140922 h 194337"/>
                <a:gd name="connsiteX2" fmla="*/ 95300 w 328878"/>
                <a:gd name="connsiteY2" fmla="*/ 148023 h 194337"/>
                <a:gd name="connsiteX3" fmla="*/ 329252 w 328878"/>
                <a:gd name="connsiteY3" fmla="*/ 56086 h 194337"/>
                <a:gd name="connsiteX4" fmla="*/ 210034 w 328878"/>
                <a:gd name="connsiteY4" fmla="*/ 183527 h 194337"/>
                <a:gd name="connsiteX5" fmla="*/ 0 w 328878"/>
                <a:gd name="connsiteY5" fmla="*/ 190254 h 194337"/>
                <a:gd name="connsiteX6" fmla="*/ 2242 w 328878"/>
                <a:gd name="connsiteY6" fmla="*/ 183900 h 194337"/>
                <a:gd name="connsiteX7" fmla="*/ 114734 w 328878"/>
                <a:gd name="connsiteY7" fmla="*/ 48986 h 194337"/>
                <a:gd name="connsiteX8" fmla="*/ 312435 w 328878"/>
                <a:gd name="connsiteY8" fmla="*/ 18340 h 19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8878" h="194337">
                  <a:moveTo>
                    <a:pt x="312435" y="18340"/>
                  </a:moveTo>
                  <a:cubicBezTo>
                    <a:pt x="238811" y="59076"/>
                    <a:pt x="165560" y="99812"/>
                    <a:pt x="91936" y="140922"/>
                  </a:cubicBezTo>
                  <a:cubicBezTo>
                    <a:pt x="93058" y="143164"/>
                    <a:pt x="94179" y="145407"/>
                    <a:pt x="95300" y="148023"/>
                  </a:cubicBezTo>
                  <a:cubicBezTo>
                    <a:pt x="173782" y="117377"/>
                    <a:pt x="252265" y="86358"/>
                    <a:pt x="329252" y="56086"/>
                  </a:cubicBezTo>
                  <a:cubicBezTo>
                    <a:pt x="322151" y="109903"/>
                    <a:pt x="267961" y="170446"/>
                    <a:pt x="210034" y="183527"/>
                  </a:cubicBezTo>
                  <a:cubicBezTo>
                    <a:pt x="140895" y="199223"/>
                    <a:pt x="71008" y="195486"/>
                    <a:pt x="0" y="190254"/>
                  </a:cubicBezTo>
                  <a:cubicBezTo>
                    <a:pt x="747" y="187264"/>
                    <a:pt x="1121" y="185395"/>
                    <a:pt x="2242" y="183900"/>
                  </a:cubicBezTo>
                  <a:cubicBezTo>
                    <a:pt x="35878" y="135690"/>
                    <a:pt x="72876" y="90469"/>
                    <a:pt x="114734" y="48986"/>
                  </a:cubicBezTo>
                  <a:cubicBezTo>
                    <a:pt x="174156" y="-10063"/>
                    <a:pt x="241800" y="-9689"/>
                    <a:pt x="312435" y="18340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65" name="Freeform: Shape 964">
              <a:extLst>
                <a:ext uri="{FF2B5EF4-FFF2-40B4-BE49-F238E27FC236}">
                  <a16:creationId xmlns:a16="http://schemas.microsoft.com/office/drawing/2014/main" id="{A5675633-F68C-4728-8FD3-FD873CC20671}"/>
                </a:ext>
              </a:extLst>
            </p:cNvPr>
            <p:cNvSpPr/>
            <p:nvPr/>
          </p:nvSpPr>
          <p:spPr>
            <a:xfrm>
              <a:off x="4267355" y="3020518"/>
              <a:ext cx="228217" cy="491936"/>
            </a:xfrm>
            <a:custGeom>
              <a:avLst/>
              <a:gdLst>
                <a:gd name="connsiteX0" fmla="*/ 46052 w 168176"/>
                <a:gd name="connsiteY0" fmla="*/ 107633 h 362513"/>
                <a:gd name="connsiteX1" fmla="*/ 107717 w 168176"/>
                <a:gd name="connsiteY1" fmla="*/ 365877 h 362513"/>
                <a:gd name="connsiteX2" fmla="*/ 86414 w 168176"/>
                <a:gd name="connsiteY2" fmla="*/ 351302 h 362513"/>
                <a:gd name="connsiteX3" fmla="*/ 64365 w 168176"/>
                <a:gd name="connsiteY3" fmla="*/ 333363 h 362513"/>
                <a:gd name="connsiteX4" fmla="*/ 1205 w 168176"/>
                <a:gd name="connsiteY4" fmla="*/ 209286 h 362513"/>
                <a:gd name="connsiteX5" fmla="*/ 16528 w 168176"/>
                <a:gd name="connsiteY5" fmla="*/ 0 h 362513"/>
                <a:gd name="connsiteX6" fmla="*/ 20265 w 168176"/>
                <a:gd name="connsiteY6" fmla="*/ 747 h 362513"/>
                <a:gd name="connsiteX7" fmla="*/ 143968 w 168176"/>
                <a:gd name="connsiteY7" fmla="*/ 162571 h 362513"/>
                <a:gd name="connsiteX8" fmla="*/ 142473 w 168176"/>
                <a:gd name="connsiteY8" fmla="*/ 357655 h 362513"/>
                <a:gd name="connsiteX9" fmla="*/ 99121 w 168176"/>
                <a:gd name="connsiteY9" fmla="*/ 230215 h 362513"/>
                <a:gd name="connsiteX10" fmla="*/ 51284 w 168176"/>
                <a:gd name="connsiteY10" fmla="*/ 106138 h 362513"/>
                <a:gd name="connsiteX11" fmla="*/ 46052 w 168176"/>
                <a:gd name="connsiteY11" fmla="*/ 107633 h 3625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8176" h="362513">
                  <a:moveTo>
                    <a:pt x="46052" y="107633"/>
                  </a:moveTo>
                  <a:cubicBezTo>
                    <a:pt x="66607" y="193964"/>
                    <a:pt x="87162" y="279920"/>
                    <a:pt x="107717" y="365877"/>
                  </a:cubicBezTo>
                  <a:cubicBezTo>
                    <a:pt x="101737" y="362140"/>
                    <a:pt x="93889" y="356908"/>
                    <a:pt x="86414" y="351302"/>
                  </a:cubicBezTo>
                  <a:cubicBezTo>
                    <a:pt x="78940" y="345696"/>
                    <a:pt x="71465" y="339717"/>
                    <a:pt x="64365" y="333363"/>
                  </a:cubicBezTo>
                  <a:cubicBezTo>
                    <a:pt x="27366" y="300102"/>
                    <a:pt x="5316" y="259366"/>
                    <a:pt x="1205" y="209286"/>
                  </a:cubicBezTo>
                  <a:cubicBezTo>
                    <a:pt x="-2906" y="157338"/>
                    <a:pt x="3821" y="51574"/>
                    <a:pt x="16528" y="0"/>
                  </a:cubicBezTo>
                  <a:cubicBezTo>
                    <a:pt x="17649" y="374"/>
                    <a:pt x="19518" y="0"/>
                    <a:pt x="20265" y="747"/>
                  </a:cubicBezTo>
                  <a:cubicBezTo>
                    <a:pt x="66607" y="50827"/>
                    <a:pt x="109959" y="103148"/>
                    <a:pt x="143968" y="162571"/>
                  </a:cubicBezTo>
                  <a:cubicBezTo>
                    <a:pt x="181714" y="227599"/>
                    <a:pt x="171998" y="291880"/>
                    <a:pt x="142473" y="357655"/>
                  </a:cubicBezTo>
                  <a:cubicBezTo>
                    <a:pt x="127898" y="314303"/>
                    <a:pt x="114070" y="272072"/>
                    <a:pt x="99121" y="230215"/>
                  </a:cubicBezTo>
                  <a:cubicBezTo>
                    <a:pt x="84172" y="188358"/>
                    <a:pt x="67354" y="147248"/>
                    <a:pt x="51284" y="106138"/>
                  </a:cubicBezTo>
                  <a:cubicBezTo>
                    <a:pt x="49789" y="106512"/>
                    <a:pt x="47921" y="107259"/>
                    <a:pt x="46052" y="107633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66" name="Freeform: Shape 965">
              <a:extLst>
                <a:ext uri="{FF2B5EF4-FFF2-40B4-BE49-F238E27FC236}">
                  <a16:creationId xmlns:a16="http://schemas.microsoft.com/office/drawing/2014/main" id="{96CF4379-9F16-4931-9C19-51156F943872}"/>
                </a:ext>
              </a:extLst>
            </p:cNvPr>
            <p:cNvSpPr/>
            <p:nvPr/>
          </p:nvSpPr>
          <p:spPr>
            <a:xfrm>
              <a:off x="7694008" y="3014432"/>
              <a:ext cx="223145" cy="502079"/>
            </a:xfrm>
            <a:custGeom>
              <a:avLst/>
              <a:gdLst>
                <a:gd name="connsiteX0" fmla="*/ 116433 w 164439"/>
                <a:gd name="connsiteY0" fmla="*/ 110623 h 369988"/>
                <a:gd name="connsiteX1" fmla="*/ 25992 w 164439"/>
                <a:gd name="connsiteY1" fmla="*/ 360271 h 369988"/>
                <a:gd name="connsiteX2" fmla="*/ 12538 w 164439"/>
                <a:gd name="connsiteY2" fmla="*/ 194337 h 369988"/>
                <a:gd name="connsiteX3" fmla="*/ 153058 w 164439"/>
                <a:gd name="connsiteY3" fmla="*/ 0 h 369988"/>
                <a:gd name="connsiteX4" fmla="*/ 163149 w 164439"/>
                <a:gd name="connsiteY4" fmla="*/ 76614 h 369988"/>
                <a:gd name="connsiteX5" fmla="*/ 167260 w 164439"/>
                <a:gd name="connsiteY5" fmla="*/ 208913 h 369988"/>
                <a:gd name="connsiteX6" fmla="*/ 94757 w 164439"/>
                <a:gd name="connsiteY6" fmla="*/ 346444 h 369988"/>
                <a:gd name="connsiteX7" fmla="*/ 60748 w 164439"/>
                <a:gd name="connsiteY7" fmla="*/ 371483 h 369988"/>
                <a:gd name="connsiteX8" fmla="*/ 122787 w 164439"/>
                <a:gd name="connsiteY8" fmla="*/ 112118 h 369988"/>
                <a:gd name="connsiteX9" fmla="*/ 116433 w 164439"/>
                <a:gd name="connsiteY9" fmla="*/ 110623 h 369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439" h="369988">
                  <a:moveTo>
                    <a:pt x="116433" y="110623"/>
                  </a:moveTo>
                  <a:cubicBezTo>
                    <a:pt x="86535" y="193964"/>
                    <a:pt x="56264" y="276931"/>
                    <a:pt x="25992" y="360271"/>
                  </a:cubicBezTo>
                  <a:cubicBezTo>
                    <a:pt x="2821" y="306829"/>
                    <a:pt x="-11754" y="251517"/>
                    <a:pt x="12538" y="194337"/>
                  </a:cubicBezTo>
                  <a:cubicBezTo>
                    <a:pt x="43931" y="120713"/>
                    <a:pt x="97373" y="62038"/>
                    <a:pt x="153058" y="0"/>
                  </a:cubicBezTo>
                  <a:cubicBezTo>
                    <a:pt x="156796" y="28403"/>
                    <a:pt x="161654" y="52322"/>
                    <a:pt x="163149" y="76614"/>
                  </a:cubicBezTo>
                  <a:cubicBezTo>
                    <a:pt x="165765" y="120713"/>
                    <a:pt x="168007" y="164813"/>
                    <a:pt x="167260" y="208913"/>
                  </a:cubicBezTo>
                  <a:cubicBezTo>
                    <a:pt x="166513" y="266466"/>
                    <a:pt x="138483" y="310940"/>
                    <a:pt x="94757" y="346444"/>
                  </a:cubicBezTo>
                  <a:cubicBezTo>
                    <a:pt x="83546" y="355413"/>
                    <a:pt x="71586" y="363635"/>
                    <a:pt x="60748" y="371483"/>
                  </a:cubicBezTo>
                  <a:cubicBezTo>
                    <a:pt x="81303" y="285153"/>
                    <a:pt x="102232" y="198448"/>
                    <a:pt x="122787" y="112118"/>
                  </a:cubicBezTo>
                  <a:cubicBezTo>
                    <a:pt x="121292" y="111744"/>
                    <a:pt x="118676" y="110997"/>
                    <a:pt x="116433" y="110623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67" name="Freeform: Shape 966">
              <a:extLst>
                <a:ext uri="{FF2B5EF4-FFF2-40B4-BE49-F238E27FC236}">
                  <a16:creationId xmlns:a16="http://schemas.microsoft.com/office/drawing/2014/main" id="{1C1E1CEE-B00C-445D-885A-91C9EFAB716B}"/>
                </a:ext>
              </a:extLst>
            </p:cNvPr>
            <p:cNvSpPr/>
            <p:nvPr/>
          </p:nvSpPr>
          <p:spPr>
            <a:xfrm>
              <a:off x="7729698" y="2522496"/>
              <a:ext cx="268790" cy="395578"/>
            </a:xfrm>
            <a:custGeom>
              <a:avLst/>
              <a:gdLst>
                <a:gd name="connsiteX0" fmla="*/ 69577 w 198074"/>
                <a:gd name="connsiteY0" fmla="*/ 0 h 291505"/>
                <a:gd name="connsiteX1" fmla="*/ 192533 w 198074"/>
                <a:gd name="connsiteY1" fmla="*/ 144632 h 291505"/>
                <a:gd name="connsiteX2" fmla="*/ 195149 w 198074"/>
                <a:gd name="connsiteY2" fmla="*/ 205549 h 291505"/>
                <a:gd name="connsiteX3" fmla="*/ 140585 w 198074"/>
                <a:gd name="connsiteY3" fmla="*/ 281789 h 291505"/>
                <a:gd name="connsiteX4" fmla="*/ 88263 w 198074"/>
                <a:gd name="connsiteY4" fmla="*/ 83715 h 291505"/>
                <a:gd name="connsiteX5" fmla="*/ 83779 w 198074"/>
                <a:gd name="connsiteY5" fmla="*/ 84462 h 291505"/>
                <a:gd name="connsiteX6" fmla="*/ 83779 w 198074"/>
                <a:gd name="connsiteY6" fmla="*/ 152854 h 291505"/>
                <a:gd name="connsiteX7" fmla="*/ 88263 w 198074"/>
                <a:gd name="connsiteY7" fmla="*/ 221246 h 291505"/>
                <a:gd name="connsiteX8" fmla="*/ 97607 w 198074"/>
                <a:gd name="connsiteY8" fmla="*/ 291880 h 291505"/>
                <a:gd name="connsiteX9" fmla="*/ 12771 w 198074"/>
                <a:gd name="connsiteY9" fmla="*/ 227599 h 291505"/>
                <a:gd name="connsiteX10" fmla="*/ 438 w 198074"/>
                <a:gd name="connsiteY10" fmla="*/ 177893 h 291505"/>
                <a:gd name="connsiteX11" fmla="*/ 69577 w 198074"/>
                <a:gd name="connsiteY11" fmla="*/ 0 h 291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074" h="291505">
                  <a:moveTo>
                    <a:pt x="69577" y="0"/>
                  </a:moveTo>
                  <a:cubicBezTo>
                    <a:pt x="117414" y="44100"/>
                    <a:pt x="164130" y="86704"/>
                    <a:pt x="192533" y="144632"/>
                  </a:cubicBezTo>
                  <a:cubicBezTo>
                    <a:pt x="202250" y="164439"/>
                    <a:pt x="202250" y="184994"/>
                    <a:pt x="195149" y="205549"/>
                  </a:cubicBezTo>
                  <a:cubicBezTo>
                    <a:pt x="186180" y="232084"/>
                    <a:pt x="159645" y="268335"/>
                    <a:pt x="140585" y="281789"/>
                  </a:cubicBezTo>
                  <a:cubicBezTo>
                    <a:pt x="123394" y="216387"/>
                    <a:pt x="105829" y="150238"/>
                    <a:pt x="88263" y="83715"/>
                  </a:cubicBezTo>
                  <a:cubicBezTo>
                    <a:pt x="86768" y="84088"/>
                    <a:pt x="85274" y="84462"/>
                    <a:pt x="83779" y="84462"/>
                  </a:cubicBezTo>
                  <a:cubicBezTo>
                    <a:pt x="83779" y="107259"/>
                    <a:pt x="83031" y="130057"/>
                    <a:pt x="83779" y="152854"/>
                  </a:cubicBezTo>
                  <a:cubicBezTo>
                    <a:pt x="84526" y="175651"/>
                    <a:pt x="86021" y="198448"/>
                    <a:pt x="88263" y="221246"/>
                  </a:cubicBezTo>
                  <a:cubicBezTo>
                    <a:pt x="90506" y="244417"/>
                    <a:pt x="94243" y="267214"/>
                    <a:pt x="97607" y="291880"/>
                  </a:cubicBezTo>
                  <a:cubicBezTo>
                    <a:pt x="64345" y="275809"/>
                    <a:pt x="33700" y="258244"/>
                    <a:pt x="12771" y="227599"/>
                  </a:cubicBezTo>
                  <a:cubicBezTo>
                    <a:pt x="2680" y="212650"/>
                    <a:pt x="-1431" y="195832"/>
                    <a:pt x="438" y="177893"/>
                  </a:cubicBezTo>
                  <a:cubicBezTo>
                    <a:pt x="7912" y="113613"/>
                    <a:pt x="38558" y="57927"/>
                    <a:pt x="69577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68" name="Freeform: Shape 967">
              <a:extLst>
                <a:ext uri="{FF2B5EF4-FFF2-40B4-BE49-F238E27FC236}">
                  <a16:creationId xmlns:a16="http://schemas.microsoft.com/office/drawing/2014/main" id="{5DA3D2F1-3970-407E-AE5B-26A918157C34}"/>
                </a:ext>
              </a:extLst>
            </p:cNvPr>
            <p:cNvSpPr/>
            <p:nvPr/>
          </p:nvSpPr>
          <p:spPr>
            <a:xfrm>
              <a:off x="4190694" y="2523003"/>
              <a:ext cx="268790" cy="390506"/>
            </a:xfrm>
            <a:custGeom>
              <a:avLst/>
              <a:gdLst>
                <a:gd name="connsiteX0" fmla="*/ 105161 w 198074"/>
                <a:gd name="connsiteY0" fmla="*/ 289637 h 287768"/>
                <a:gd name="connsiteX1" fmla="*/ 120110 w 198074"/>
                <a:gd name="connsiteY1" fmla="*/ 84462 h 287768"/>
                <a:gd name="connsiteX2" fmla="*/ 114504 w 198074"/>
                <a:gd name="connsiteY2" fmla="*/ 83715 h 287768"/>
                <a:gd name="connsiteX3" fmla="*/ 62930 w 198074"/>
                <a:gd name="connsiteY3" fmla="*/ 285526 h 287768"/>
                <a:gd name="connsiteX4" fmla="*/ 51718 w 198074"/>
                <a:gd name="connsiteY4" fmla="*/ 275062 h 287768"/>
                <a:gd name="connsiteX5" fmla="*/ 11729 w 198074"/>
                <a:gd name="connsiteY5" fmla="*/ 219751 h 287768"/>
                <a:gd name="connsiteX6" fmla="*/ 12103 w 198074"/>
                <a:gd name="connsiteY6" fmla="*/ 134541 h 287768"/>
                <a:gd name="connsiteX7" fmla="*/ 94323 w 198074"/>
                <a:gd name="connsiteY7" fmla="*/ 33262 h 287768"/>
                <a:gd name="connsiteX8" fmla="*/ 130200 w 198074"/>
                <a:gd name="connsiteY8" fmla="*/ 0 h 287768"/>
                <a:gd name="connsiteX9" fmla="*/ 198218 w 198074"/>
                <a:gd name="connsiteY9" fmla="*/ 170793 h 287768"/>
                <a:gd name="connsiteX10" fmla="*/ 173553 w 198074"/>
                <a:gd name="connsiteY10" fmla="*/ 244043 h 287768"/>
                <a:gd name="connsiteX11" fmla="*/ 105161 w 198074"/>
                <a:gd name="connsiteY11" fmla="*/ 289637 h 287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074" h="287768">
                  <a:moveTo>
                    <a:pt x="105161" y="289637"/>
                  </a:moveTo>
                  <a:cubicBezTo>
                    <a:pt x="110019" y="221246"/>
                    <a:pt x="115251" y="152854"/>
                    <a:pt x="120110" y="84462"/>
                  </a:cubicBezTo>
                  <a:cubicBezTo>
                    <a:pt x="118241" y="84088"/>
                    <a:pt x="116372" y="84088"/>
                    <a:pt x="114504" y="83715"/>
                  </a:cubicBezTo>
                  <a:cubicBezTo>
                    <a:pt x="93202" y="149116"/>
                    <a:pt x="71152" y="213771"/>
                    <a:pt x="62930" y="285526"/>
                  </a:cubicBezTo>
                  <a:cubicBezTo>
                    <a:pt x="58445" y="281042"/>
                    <a:pt x="54334" y="278426"/>
                    <a:pt x="51718" y="275062"/>
                  </a:cubicBezTo>
                  <a:cubicBezTo>
                    <a:pt x="37890" y="256749"/>
                    <a:pt x="22941" y="239558"/>
                    <a:pt x="11729" y="219751"/>
                  </a:cubicBezTo>
                  <a:cubicBezTo>
                    <a:pt x="-4341" y="192095"/>
                    <a:pt x="-3593" y="162944"/>
                    <a:pt x="12103" y="134541"/>
                  </a:cubicBezTo>
                  <a:cubicBezTo>
                    <a:pt x="33405" y="95674"/>
                    <a:pt x="63303" y="63907"/>
                    <a:pt x="94323" y="33262"/>
                  </a:cubicBezTo>
                  <a:cubicBezTo>
                    <a:pt x="105534" y="22050"/>
                    <a:pt x="117494" y="11959"/>
                    <a:pt x="130200" y="0"/>
                  </a:cubicBezTo>
                  <a:cubicBezTo>
                    <a:pt x="160098" y="55685"/>
                    <a:pt x="188875" y="109128"/>
                    <a:pt x="198218" y="170793"/>
                  </a:cubicBezTo>
                  <a:cubicBezTo>
                    <a:pt x="202703" y="199569"/>
                    <a:pt x="193734" y="223862"/>
                    <a:pt x="173553" y="244043"/>
                  </a:cubicBezTo>
                  <a:cubicBezTo>
                    <a:pt x="153371" y="264598"/>
                    <a:pt x="129453" y="279547"/>
                    <a:pt x="105161" y="289637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69" name="Freeform: Shape 968">
              <a:extLst>
                <a:ext uri="{FF2B5EF4-FFF2-40B4-BE49-F238E27FC236}">
                  <a16:creationId xmlns:a16="http://schemas.microsoft.com/office/drawing/2014/main" id="{8E626AC7-B338-49B2-B897-A66DA93D5DD7}"/>
                </a:ext>
              </a:extLst>
            </p:cNvPr>
            <p:cNvSpPr/>
            <p:nvPr/>
          </p:nvSpPr>
          <p:spPr>
            <a:xfrm>
              <a:off x="6084373" y="1759234"/>
              <a:ext cx="213003" cy="486865"/>
            </a:xfrm>
            <a:custGeom>
              <a:avLst/>
              <a:gdLst>
                <a:gd name="connsiteX0" fmla="*/ 86117 w 156964"/>
                <a:gd name="connsiteY0" fmla="*/ 359150 h 358776"/>
                <a:gd name="connsiteX1" fmla="*/ 95086 w 156964"/>
                <a:gd name="connsiteY1" fmla="*/ 105391 h 358776"/>
                <a:gd name="connsiteX2" fmla="*/ 89854 w 156964"/>
                <a:gd name="connsiteY2" fmla="*/ 104643 h 358776"/>
                <a:gd name="connsiteX3" fmla="*/ 67430 w 156964"/>
                <a:gd name="connsiteY3" fmla="*/ 230215 h 358776"/>
                <a:gd name="connsiteX4" fmla="*/ 50613 w 156964"/>
                <a:gd name="connsiteY4" fmla="*/ 358777 h 358776"/>
                <a:gd name="connsiteX5" fmla="*/ 3523 w 156964"/>
                <a:gd name="connsiteY5" fmla="*/ 200317 h 358776"/>
                <a:gd name="connsiteX6" fmla="*/ 102187 w 156964"/>
                <a:gd name="connsiteY6" fmla="*/ 0 h 358776"/>
                <a:gd name="connsiteX7" fmla="*/ 155630 w 156964"/>
                <a:gd name="connsiteY7" fmla="*/ 176772 h 358776"/>
                <a:gd name="connsiteX8" fmla="*/ 155256 w 156964"/>
                <a:gd name="connsiteY8" fmla="*/ 254881 h 358776"/>
                <a:gd name="connsiteX9" fmla="*/ 86117 w 156964"/>
                <a:gd name="connsiteY9" fmla="*/ 359150 h 358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964" h="358776">
                  <a:moveTo>
                    <a:pt x="86117" y="359150"/>
                  </a:moveTo>
                  <a:cubicBezTo>
                    <a:pt x="89106" y="275062"/>
                    <a:pt x="92096" y="190226"/>
                    <a:pt x="95086" y="105391"/>
                  </a:cubicBezTo>
                  <a:cubicBezTo>
                    <a:pt x="93217" y="105017"/>
                    <a:pt x="91722" y="105017"/>
                    <a:pt x="89854" y="104643"/>
                  </a:cubicBezTo>
                  <a:cubicBezTo>
                    <a:pt x="82379" y="146500"/>
                    <a:pt x="73784" y="188358"/>
                    <a:pt x="67430" y="230215"/>
                  </a:cubicBezTo>
                  <a:cubicBezTo>
                    <a:pt x="61077" y="272072"/>
                    <a:pt x="56219" y="314303"/>
                    <a:pt x="50613" y="358777"/>
                  </a:cubicBezTo>
                  <a:cubicBezTo>
                    <a:pt x="15482" y="310566"/>
                    <a:pt x="-9557" y="261234"/>
                    <a:pt x="3523" y="200317"/>
                  </a:cubicBezTo>
                  <a:cubicBezTo>
                    <a:pt x="14361" y="150985"/>
                    <a:pt x="71915" y="33262"/>
                    <a:pt x="102187" y="0"/>
                  </a:cubicBezTo>
                  <a:cubicBezTo>
                    <a:pt x="125358" y="57554"/>
                    <a:pt x="147034" y="115481"/>
                    <a:pt x="155630" y="176772"/>
                  </a:cubicBezTo>
                  <a:cubicBezTo>
                    <a:pt x="159367" y="202559"/>
                    <a:pt x="159367" y="229468"/>
                    <a:pt x="155256" y="254881"/>
                  </a:cubicBezTo>
                  <a:cubicBezTo>
                    <a:pt x="149276" y="292627"/>
                    <a:pt x="116015" y="337474"/>
                    <a:pt x="86117" y="359150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70" name="Freeform: Shape 969">
              <a:extLst>
                <a:ext uri="{FF2B5EF4-FFF2-40B4-BE49-F238E27FC236}">
                  <a16:creationId xmlns:a16="http://schemas.microsoft.com/office/drawing/2014/main" id="{65733615-B9DD-419A-82E7-E102B80E14CD}"/>
                </a:ext>
              </a:extLst>
            </p:cNvPr>
            <p:cNvSpPr/>
            <p:nvPr/>
          </p:nvSpPr>
          <p:spPr>
            <a:xfrm>
              <a:off x="5017037" y="4845998"/>
              <a:ext cx="349934" cy="238361"/>
            </a:xfrm>
            <a:custGeom>
              <a:avLst/>
              <a:gdLst>
                <a:gd name="connsiteX0" fmla="*/ 243669 w 257870"/>
                <a:gd name="connsiteY0" fmla="*/ 24859 h 175651"/>
                <a:gd name="connsiteX1" fmla="*/ 71382 w 257870"/>
                <a:gd name="connsiteY1" fmla="*/ 125391 h 175651"/>
                <a:gd name="connsiteX2" fmla="*/ 74371 w 257870"/>
                <a:gd name="connsiteY2" fmla="*/ 132118 h 175651"/>
                <a:gd name="connsiteX3" fmla="*/ 261234 w 257870"/>
                <a:gd name="connsiteY3" fmla="*/ 62232 h 175651"/>
                <a:gd name="connsiteX4" fmla="*/ 216387 w 257870"/>
                <a:gd name="connsiteY4" fmla="*/ 154542 h 175651"/>
                <a:gd name="connsiteX5" fmla="*/ 153227 w 257870"/>
                <a:gd name="connsiteY5" fmla="*/ 177713 h 175651"/>
                <a:gd name="connsiteX6" fmla="*/ 0 w 257870"/>
                <a:gd name="connsiteY6" fmla="*/ 164632 h 175651"/>
                <a:gd name="connsiteX7" fmla="*/ 1495 w 257870"/>
                <a:gd name="connsiteY7" fmla="*/ 157532 h 175651"/>
                <a:gd name="connsiteX8" fmla="*/ 78856 w 257870"/>
                <a:gd name="connsiteY8" fmla="*/ 43171 h 175651"/>
                <a:gd name="connsiteX9" fmla="*/ 150611 w 257870"/>
                <a:gd name="connsiteY9" fmla="*/ 193 h 175651"/>
                <a:gd name="connsiteX10" fmla="*/ 243669 w 257870"/>
                <a:gd name="connsiteY10" fmla="*/ 24859 h 17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7870" h="175651">
                  <a:moveTo>
                    <a:pt x="243669" y="24859"/>
                  </a:moveTo>
                  <a:cubicBezTo>
                    <a:pt x="186489" y="58120"/>
                    <a:pt x="128935" y="91756"/>
                    <a:pt x="71382" y="125391"/>
                  </a:cubicBezTo>
                  <a:cubicBezTo>
                    <a:pt x="72503" y="127634"/>
                    <a:pt x="73624" y="129876"/>
                    <a:pt x="74371" y="132118"/>
                  </a:cubicBezTo>
                  <a:cubicBezTo>
                    <a:pt x="136784" y="108947"/>
                    <a:pt x="199196" y="85403"/>
                    <a:pt x="261234" y="62232"/>
                  </a:cubicBezTo>
                  <a:cubicBezTo>
                    <a:pt x="254133" y="95119"/>
                    <a:pt x="243669" y="128755"/>
                    <a:pt x="216387" y="154542"/>
                  </a:cubicBezTo>
                  <a:cubicBezTo>
                    <a:pt x="198822" y="171359"/>
                    <a:pt x="176399" y="175844"/>
                    <a:pt x="153227" y="177713"/>
                  </a:cubicBezTo>
                  <a:cubicBezTo>
                    <a:pt x="101653" y="181450"/>
                    <a:pt x="51200" y="174723"/>
                    <a:pt x="0" y="164632"/>
                  </a:cubicBezTo>
                  <a:cubicBezTo>
                    <a:pt x="374" y="162016"/>
                    <a:pt x="374" y="159400"/>
                    <a:pt x="1495" y="157532"/>
                  </a:cubicBezTo>
                  <a:cubicBezTo>
                    <a:pt x="26908" y="119038"/>
                    <a:pt x="51574" y="80170"/>
                    <a:pt x="78856" y="43171"/>
                  </a:cubicBezTo>
                  <a:cubicBezTo>
                    <a:pt x="96048" y="19627"/>
                    <a:pt x="119592" y="1688"/>
                    <a:pt x="150611" y="193"/>
                  </a:cubicBezTo>
                  <a:cubicBezTo>
                    <a:pt x="185368" y="-1676"/>
                    <a:pt x="216013" y="10284"/>
                    <a:pt x="243669" y="24859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71" name="Freeform: Shape 970">
              <a:extLst>
                <a:ext uri="{FF2B5EF4-FFF2-40B4-BE49-F238E27FC236}">
                  <a16:creationId xmlns:a16="http://schemas.microsoft.com/office/drawing/2014/main" id="{D0DF9FA5-B04E-4F3E-BC68-82F1DF618CB8}"/>
                </a:ext>
              </a:extLst>
            </p:cNvPr>
            <p:cNvSpPr/>
            <p:nvPr/>
          </p:nvSpPr>
          <p:spPr>
            <a:xfrm>
              <a:off x="6821479" y="4846935"/>
              <a:ext cx="349934" cy="238361"/>
            </a:xfrm>
            <a:custGeom>
              <a:avLst/>
              <a:gdLst>
                <a:gd name="connsiteX0" fmla="*/ 0 w 257870"/>
                <a:gd name="connsiteY0" fmla="*/ 61914 h 175651"/>
                <a:gd name="connsiteX1" fmla="*/ 184994 w 257870"/>
                <a:gd name="connsiteY1" fmla="*/ 131053 h 175651"/>
                <a:gd name="connsiteX2" fmla="*/ 187237 w 257870"/>
                <a:gd name="connsiteY2" fmla="*/ 126195 h 175651"/>
                <a:gd name="connsiteX3" fmla="*/ 132673 w 257870"/>
                <a:gd name="connsiteY3" fmla="*/ 91064 h 175651"/>
                <a:gd name="connsiteX4" fmla="*/ 75119 w 257870"/>
                <a:gd name="connsiteY4" fmla="*/ 57055 h 175651"/>
                <a:gd name="connsiteX5" fmla="*/ 15697 w 257870"/>
                <a:gd name="connsiteY5" fmla="*/ 26784 h 175651"/>
                <a:gd name="connsiteX6" fmla="*/ 163692 w 257870"/>
                <a:gd name="connsiteY6" fmla="*/ 24541 h 175651"/>
                <a:gd name="connsiteX7" fmla="*/ 259739 w 257870"/>
                <a:gd name="connsiteY7" fmla="*/ 163941 h 175651"/>
                <a:gd name="connsiteX8" fmla="*/ 81472 w 257870"/>
                <a:gd name="connsiteY8" fmla="*/ 172537 h 175651"/>
                <a:gd name="connsiteX9" fmla="*/ 44847 w 257870"/>
                <a:gd name="connsiteY9" fmla="*/ 154224 h 175651"/>
                <a:gd name="connsiteX10" fmla="*/ 0 w 257870"/>
                <a:gd name="connsiteY10" fmla="*/ 61914 h 175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7870" h="175651">
                  <a:moveTo>
                    <a:pt x="0" y="61914"/>
                  </a:moveTo>
                  <a:cubicBezTo>
                    <a:pt x="61665" y="85085"/>
                    <a:pt x="123329" y="107882"/>
                    <a:pt x="184994" y="131053"/>
                  </a:cubicBezTo>
                  <a:cubicBezTo>
                    <a:pt x="185742" y="129558"/>
                    <a:pt x="186489" y="128063"/>
                    <a:pt x="187237" y="126195"/>
                  </a:cubicBezTo>
                  <a:cubicBezTo>
                    <a:pt x="168924" y="114609"/>
                    <a:pt x="150985" y="102650"/>
                    <a:pt x="132673" y="91064"/>
                  </a:cubicBezTo>
                  <a:cubicBezTo>
                    <a:pt x="113613" y="79479"/>
                    <a:pt x="94553" y="67520"/>
                    <a:pt x="75119" y="57055"/>
                  </a:cubicBezTo>
                  <a:cubicBezTo>
                    <a:pt x="55685" y="46217"/>
                    <a:pt x="35504" y="36874"/>
                    <a:pt x="15697" y="26784"/>
                  </a:cubicBezTo>
                  <a:cubicBezTo>
                    <a:pt x="53069" y="-7973"/>
                    <a:pt x="125572" y="-9094"/>
                    <a:pt x="163692" y="24541"/>
                  </a:cubicBezTo>
                  <a:cubicBezTo>
                    <a:pt x="195085" y="52571"/>
                    <a:pt x="250770" y="132922"/>
                    <a:pt x="259739" y="163941"/>
                  </a:cubicBezTo>
                  <a:cubicBezTo>
                    <a:pt x="200317" y="174779"/>
                    <a:pt x="141268" y="184496"/>
                    <a:pt x="81472" y="172537"/>
                  </a:cubicBezTo>
                  <a:cubicBezTo>
                    <a:pt x="68392" y="169921"/>
                    <a:pt x="55311" y="162446"/>
                    <a:pt x="44847" y="154224"/>
                  </a:cubicBezTo>
                  <a:cubicBezTo>
                    <a:pt x="21676" y="135911"/>
                    <a:pt x="1121" y="89196"/>
                    <a:pt x="0" y="61914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72" name="Freeform: Shape 971">
              <a:extLst>
                <a:ext uri="{FF2B5EF4-FFF2-40B4-BE49-F238E27FC236}">
                  <a16:creationId xmlns:a16="http://schemas.microsoft.com/office/drawing/2014/main" id="{133D18F6-9183-4383-A6BF-841D54368DD4}"/>
                </a:ext>
              </a:extLst>
            </p:cNvPr>
            <p:cNvSpPr/>
            <p:nvPr/>
          </p:nvSpPr>
          <p:spPr>
            <a:xfrm>
              <a:off x="5986281" y="3546941"/>
              <a:ext cx="218075" cy="380363"/>
            </a:xfrm>
            <a:custGeom>
              <a:avLst/>
              <a:gdLst>
                <a:gd name="connsiteX0" fmla="*/ 129250 w 160701"/>
                <a:gd name="connsiteY0" fmla="*/ 271325 h 280294"/>
                <a:gd name="connsiteX1" fmla="*/ 56748 w 160701"/>
                <a:gd name="connsiteY1" fmla="*/ 81846 h 280294"/>
                <a:gd name="connsiteX2" fmla="*/ 50021 w 160701"/>
                <a:gd name="connsiteY2" fmla="*/ 83715 h 280294"/>
                <a:gd name="connsiteX3" fmla="*/ 93373 w 160701"/>
                <a:gd name="connsiteY3" fmla="*/ 281042 h 280294"/>
                <a:gd name="connsiteX4" fmla="*/ 689 w 160701"/>
                <a:gd name="connsiteY4" fmla="*/ 148369 h 280294"/>
                <a:gd name="connsiteX5" fmla="*/ 26102 w 160701"/>
                <a:gd name="connsiteY5" fmla="*/ 6727 h 280294"/>
                <a:gd name="connsiteX6" fmla="*/ 29466 w 160701"/>
                <a:gd name="connsiteY6" fmla="*/ 0 h 280294"/>
                <a:gd name="connsiteX7" fmla="*/ 151674 w 160701"/>
                <a:gd name="connsiteY7" fmla="*/ 137531 h 280294"/>
                <a:gd name="connsiteX8" fmla="*/ 159896 w 160701"/>
                <a:gd name="connsiteY8" fmla="*/ 198448 h 280294"/>
                <a:gd name="connsiteX9" fmla="*/ 129250 w 160701"/>
                <a:gd name="connsiteY9" fmla="*/ 271325 h 280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0701" h="280294">
                  <a:moveTo>
                    <a:pt x="129250" y="271325"/>
                  </a:moveTo>
                  <a:cubicBezTo>
                    <a:pt x="104958" y="208165"/>
                    <a:pt x="81040" y="145006"/>
                    <a:pt x="56748" y="81846"/>
                  </a:cubicBezTo>
                  <a:cubicBezTo>
                    <a:pt x="54505" y="82593"/>
                    <a:pt x="52263" y="82967"/>
                    <a:pt x="50021" y="83715"/>
                  </a:cubicBezTo>
                  <a:cubicBezTo>
                    <a:pt x="64596" y="149864"/>
                    <a:pt x="79171" y="216013"/>
                    <a:pt x="93373" y="281042"/>
                  </a:cubicBezTo>
                  <a:cubicBezTo>
                    <a:pt x="32455" y="262729"/>
                    <a:pt x="-5664" y="212650"/>
                    <a:pt x="689" y="148369"/>
                  </a:cubicBezTo>
                  <a:cubicBezTo>
                    <a:pt x="5174" y="100532"/>
                    <a:pt x="17133" y="53816"/>
                    <a:pt x="26102" y="6727"/>
                  </a:cubicBezTo>
                  <a:cubicBezTo>
                    <a:pt x="26476" y="4859"/>
                    <a:pt x="27971" y="3364"/>
                    <a:pt x="29466" y="0"/>
                  </a:cubicBezTo>
                  <a:cubicBezTo>
                    <a:pt x="76181" y="41484"/>
                    <a:pt x="122150" y="82220"/>
                    <a:pt x="151674" y="137531"/>
                  </a:cubicBezTo>
                  <a:cubicBezTo>
                    <a:pt x="161765" y="156591"/>
                    <a:pt x="163633" y="177146"/>
                    <a:pt x="159896" y="198448"/>
                  </a:cubicBezTo>
                  <a:cubicBezTo>
                    <a:pt x="155038" y="225357"/>
                    <a:pt x="143826" y="250022"/>
                    <a:pt x="129250" y="271325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73" name="Freeform: Shape 972">
              <a:extLst>
                <a:ext uri="{FF2B5EF4-FFF2-40B4-BE49-F238E27FC236}">
                  <a16:creationId xmlns:a16="http://schemas.microsoft.com/office/drawing/2014/main" id="{A5CC1B5B-34F3-470F-AD44-61C21831BC13}"/>
                </a:ext>
              </a:extLst>
            </p:cNvPr>
            <p:cNvSpPr/>
            <p:nvPr/>
          </p:nvSpPr>
          <p:spPr>
            <a:xfrm>
              <a:off x="7403018" y="3476953"/>
              <a:ext cx="213003" cy="385433"/>
            </a:xfrm>
            <a:custGeom>
              <a:avLst/>
              <a:gdLst>
                <a:gd name="connsiteX0" fmla="*/ 31886 w 156964"/>
                <a:gd name="connsiteY0" fmla="*/ 271698 h 284031"/>
                <a:gd name="connsiteX1" fmla="*/ 17685 w 156964"/>
                <a:gd name="connsiteY1" fmla="*/ 123703 h 284031"/>
                <a:gd name="connsiteX2" fmla="*/ 133166 w 156964"/>
                <a:gd name="connsiteY2" fmla="*/ 0 h 284031"/>
                <a:gd name="connsiteX3" fmla="*/ 151105 w 156964"/>
                <a:gd name="connsiteY3" fmla="*/ 77361 h 284031"/>
                <a:gd name="connsiteX4" fmla="*/ 160448 w 156964"/>
                <a:gd name="connsiteY4" fmla="*/ 170419 h 284031"/>
                <a:gd name="connsiteX5" fmla="*/ 119338 w 156964"/>
                <a:gd name="connsiteY5" fmla="*/ 252265 h 284031"/>
                <a:gd name="connsiteX6" fmla="*/ 67017 w 156964"/>
                <a:gd name="connsiteY6" fmla="*/ 286274 h 284031"/>
                <a:gd name="connsiteX7" fmla="*/ 111490 w 156964"/>
                <a:gd name="connsiteY7" fmla="*/ 84836 h 284031"/>
                <a:gd name="connsiteX8" fmla="*/ 104763 w 156964"/>
                <a:gd name="connsiteY8" fmla="*/ 82593 h 284031"/>
                <a:gd name="connsiteX9" fmla="*/ 31886 w 156964"/>
                <a:gd name="connsiteY9" fmla="*/ 271698 h 284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964" h="284031">
                  <a:moveTo>
                    <a:pt x="31886" y="271698"/>
                  </a:moveTo>
                  <a:cubicBezTo>
                    <a:pt x="-3617" y="233205"/>
                    <a:pt x="-11092" y="168924"/>
                    <a:pt x="17685" y="123703"/>
                  </a:cubicBezTo>
                  <a:cubicBezTo>
                    <a:pt x="47583" y="76240"/>
                    <a:pt x="88319" y="38494"/>
                    <a:pt x="133166" y="0"/>
                  </a:cubicBezTo>
                  <a:cubicBezTo>
                    <a:pt x="139519" y="27656"/>
                    <a:pt x="147368" y="52322"/>
                    <a:pt x="151105" y="77361"/>
                  </a:cubicBezTo>
                  <a:cubicBezTo>
                    <a:pt x="155963" y="108007"/>
                    <a:pt x="158953" y="139400"/>
                    <a:pt x="160448" y="170419"/>
                  </a:cubicBezTo>
                  <a:cubicBezTo>
                    <a:pt x="161943" y="204802"/>
                    <a:pt x="145873" y="232084"/>
                    <a:pt x="119338" y="252265"/>
                  </a:cubicBezTo>
                  <a:cubicBezTo>
                    <a:pt x="102894" y="264971"/>
                    <a:pt x="84582" y="275062"/>
                    <a:pt x="67017" y="286274"/>
                  </a:cubicBezTo>
                  <a:cubicBezTo>
                    <a:pt x="81966" y="217882"/>
                    <a:pt x="96915" y="151359"/>
                    <a:pt x="111490" y="84836"/>
                  </a:cubicBezTo>
                  <a:cubicBezTo>
                    <a:pt x="109248" y="84088"/>
                    <a:pt x="107005" y="83341"/>
                    <a:pt x="104763" y="82593"/>
                  </a:cubicBezTo>
                  <a:cubicBezTo>
                    <a:pt x="80097" y="146127"/>
                    <a:pt x="55805" y="209286"/>
                    <a:pt x="31886" y="271698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74" name="Freeform: Shape 973">
              <a:extLst>
                <a:ext uri="{FF2B5EF4-FFF2-40B4-BE49-F238E27FC236}">
                  <a16:creationId xmlns:a16="http://schemas.microsoft.com/office/drawing/2014/main" id="{954DAB40-E6C0-4E7A-AAAC-369AC9F970E2}"/>
                </a:ext>
              </a:extLst>
            </p:cNvPr>
            <p:cNvSpPr/>
            <p:nvPr/>
          </p:nvSpPr>
          <p:spPr>
            <a:xfrm>
              <a:off x="4569552" y="3477967"/>
              <a:ext cx="218075" cy="380363"/>
            </a:xfrm>
            <a:custGeom>
              <a:avLst/>
              <a:gdLst>
                <a:gd name="connsiteX0" fmla="*/ 28910 w 160701"/>
                <a:gd name="connsiteY0" fmla="*/ 0 h 280294"/>
                <a:gd name="connsiteX1" fmla="*/ 141027 w 160701"/>
                <a:gd name="connsiteY1" fmla="*/ 118471 h 280294"/>
                <a:gd name="connsiteX2" fmla="*/ 129442 w 160701"/>
                <a:gd name="connsiteY2" fmla="*/ 271325 h 280294"/>
                <a:gd name="connsiteX3" fmla="*/ 56939 w 160701"/>
                <a:gd name="connsiteY3" fmla="*/ 81846 h 280294"/>
                <a:gd name="connsiteX4" fmla="*/ 50212 w 160701"/>
                <a:gd name="connsiteY4" fmla="*/ 83715 h 280294"/>
                <a:gd name="connsiteX5" fmla="*/ 93564 w 160701"/>
                <a:gd name="connsiteY5" fmla="*/ 281789 h 280294"/>
                <a:gd name="connsiteX6" fmla="*/ 133 w 160701"/>
                <a:gd name="connsiteY6" fmla="*/ 150985 h 280294"/>
                <a:gd name="connsiteX7" fmla="*/ 28910 w 160701"/>
                <a:gd name="connsiteY7" fmla="*/ 0 h 280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01" h="280294">
                  <a:moveTo>
                    <a:pt x="28910" y="0"/>
                  </a:moveTo>
                  <a:cubicBezTo>
                    <a:pt x="71888" y="36999"/>
                    <a:pt x="111129" y="73624"/>
                    <a:pt x="141027" y="118471"/>
                  </a:cubicBezTo>
                  <a:cubicBezTo>
                    <a:pt x="172420" y="166308"/>
                    <a:pt x="167188" y="224235"/>
                    <a:pt x="129442" y="271325"/>
                  </a:cubicBezTo>
                  <a:cubicBezTo>
                    <a:pt x="105523" y="208913"/>
                    <a:pt x="81231" y="145379"/>
                    <a:pt x="56939" y="81846"/>
                  </a:cubicBezTo>
                  <a:cubicBezTo>
                    <a:pt x="54697" y="82593"/>
                    <a:pt x="52454" y="83341"/>
                    <a:pt x="50212" y="83715"/>
                  </a:cubicBezTo>
                  <a:cubicBezTo>
                    <a:pt x="64787" y="150238"/>
                    <a:pt x="79362" y="216387"/>
                    <a:pt x="93564" y="281789"/>
                  </a:cubicBezTo>
                  <a:cubicBezTo>
                    <a:pt x="33768" y="264224"/>
                    <a:pt x="-2483" y="214145"/>
                    <a:pt x="133" y="150985"/>
                  </a:cubicBezTo>
                  <a:cubicBezTo>
                    <a:pt x="2749" y="100159"/>
                    <a:pt x="13960" y="50827"/>
                    <a:pt x="28910" y="0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75" name="Freeform: Shape 974">
              <a:extLst>
                <a:ext uri="{FF2B5EF4-FFF2-40B4-BE49-F238E27FC236}">
                  <a16:creationId xmlns:a16="http://schemas.microsoft.com/office/drawing/2014/main" id="{C738F668-3790-4E01-AE52-95773503E464}"/>
                </a:ext>
              </a:extLst>
            </p:cNvPr>
            <p:cNvSpPr/>
            <p:nvPr/>
          </p:nvSpPr>
          <p:spPr>
            <a:xfrm>
              <a:off x="3921952" y="2963210"/>
              <a:ext cx="213003" cy="390506"/>
            </a:xfrm>
            <a:custGeom>
              <a:avLst/>
              <a:gdLst>
                <a:gd name="connsiteX0" fmla="*/ 43834 w 156964"/>
                <a:gd name="connsiteY0" fmla="*/ 282163 h 287768"/>
                <a:gd name="connsiteX1" fmla="*/ 19542 w 156964"/>
                <a:gd name="connsiteY1" fmla="*/ 118471 h 287768"/>
                <a:gd name="connsiteX2" fmla="*/ 108115 w 156964"/>
                <a:gd name="connsiteY2" fmla="*/ 0 h 287768"/>
                <a:gd name="connsiteX3" fmla="*/ 117084 w 156964"/>
                <a:gd name="connsiteY3" fmla="*/ 19807 h 287768"/>
                <a:gd name="connsiteX4" fmla="*/ 158194 w 156964"/>
                <a:gd name="connsiteY4" fmla="*/ 160702 h 287768"/>
                <a:gd name="connsiteX5" fmla="*/ 129044 w 156964"/>
                <a:gd name="connsiteY5" fmla="*/ 249275 h 287768"/>
                <a:gd name="connsiteX6" fmla="*/ 80085 w 156964"/>
                <a:gd name="connsiteY6" fmla="*/ 291506 h 287768"/>
                <a:gd name="connsiteX7" fmla="*/ 98024 w 156964"/>
                <a:gd name="connsiteY7" fmla="*/ 85209 h 287768"/>
                <a:gd name="connsiteX8" fmla="*/ 91297 w 156964"/>
                <a:gd name="connsiteY8" fmla="*/ 84088 h 287768"/>
                <a:gd name="connsiteX9" fmla="*/ 43834 w 156964"/>
                <a:gd name="connsiteY9" fmla="*/ 282163 h 287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964" h="287768">
                  <a:moveTo>
                    <a:pt x="43834" y="282163"/>
                  </a:moveTo>
                  <a:cubicBezTo>
                    <a:pt x="-4376" y="234326"/>
                    <a:pt x="-13346" y="178267"/>
                    <a:pt x="19542" y="118471"/>
                  </a:cubicBezTo>
                  <a:cubicBezTo>
                    <a:pt x="43087" y="75493"/>
                    <a:pt x="73732" y="38120"/>
                    <a:pt x="108115" y="0"/>
                  </a:cubicBezTo>
                  <a:cubicBezTo>
                    <a:pt x="111478" y="7475"/>
                    <a:pt x="114468" y="13454"/>
                    <a:pt x="117084" y="19807"/>
                  </a:cubicBezTo>
                  <a:cubicBezTo>
                    <a:pt x="135397" y="65402"/>
                    <a:pt x="152215" y="111370"/>
                    <a:pt x="158194" y="160702"/>
                  </a:cubicBezTo>
                  <a:cubicBezTo>
                    <a:pt x="162305" y="195458"/>
                    <a:pt x="152962" y="224983"/>
                    <a:pt x="129044" y="249275"/>
                  </a:cubicBezTo>
                  <a:cubicBezTo>
                    <a:pt x="114095" y="264598"/>
                    <a:pt x="96529" y="277678"/>
                    <a:pt x="80085" y="291506"/>
                  </a:cubicBezTo>
                  <a:cubicBezTo>
                    <a:pt x="86065" y="221246"/>
                    <a:pt x="92045" y="153227"/>
                    <a:pt x="98024" y="85209"/>
                  </a:cubicBezTo>
                  <a:cubicBezTo>
                    <a:pt x="95782" y="84836"/>
                    <a:pt x="93540" y="84462"/>
                    <a:pt x="91297" y="84088"/>
                  </a:cubicBezTo>
                  <a:cubicBezTo>
                    <a:pt x="75601" y="150238"/>
                    <a:pt x="59531" y="216387"/>
                    <a:pt x="43834" y="282163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76" name="Freeform: Shape 975">
              <a:extLst>
                <a:ext uri="{FF2B5EF4-FFF2-40B4-BE49-F238E27FC236}">
                  <a16:creationId xmlns:a16="http://schemas.microsoft.com/office/drawing/2014/main" id="{FE0241D9-CAA6-4A18-A6BF-61328A6B7835}"/>
                </a:ext>
              </a:extLst>
            </p:cNvPr>
            <p:cNvSpPr/>
            <p:nvPr/>
          </p:nvSpPr>
          <p:spPr>
            <a:xfrm>
              <a:off x="8053849" y="2964224"/>
              <a:ext cx="218075" cy="385433"/>
            </a:xfrm>
            <a:custGeom>
              <a:avLst/>
              <a:gdLst>
                <a:gd name="connsiteX0" fmla="*/ 115485 w 160701"/>
                <a:gd name="connsiteY0" fmla="*/ 282163 h 284031"/>
                <a:gd name="connsiteX1" fmla="*/ 68022 w 160701"/>
                <a:gd name="connsiteY1" fmla="*/ 83715 h 284031"/>
                <a:gd name="connsiteX2" fmla="*/ 61295 w 160701"/>
                <a:gd name="connsiteY2" fmla="*/ 84836 h 284031"/>
                <a:gd name="connsiteX3" fmla="*/ 78860 w 160701"/>
                <a:gd name="connsiteY3" fmla="*/ 286648 h 284031"/>
                <a:gd name="connsiteX4" fmla="*/ 4 w 160701"/>
                <a:gd name="connsiteY4" fmla="*/ 177146 h 284031"/>
                <a:gd name="connsiteX5" fmla="*/ 52325 w 160701"/>
                <a:gd name="connsiteY5" fmla="*/ 0 h 284031"/>
                <a:gd name="connsiteX6" fmla="*/ 155473 w 160701"/>
                <a:gd name="connsiteY6" fmla="*/ 152106 h 284031"/>
                <a:gd name="connsiteX7" fmla="*/ 155847 w 160701"/>
                <a:gd name="connsiteY7" fmla="*/ 213397 h 284031"/>
                <a:gd name="connsiteX8" fmla="*/ 115485 w 160701"/>
                <a:gd name="connsiteY8" fmla="*/ 282163 h 284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0701" h="284031">
                  <a:moveTo>
                    <a:pt x="115485" y="282163"/>
                  </a:moveTo>
                  <a:cubicBezTo>
                    <a:pt x="99788" y="216013"/>
                    <a:pt x="83718" y="149864"/>
                    <a:pt x="68022" y="83715"/>
                  </a:cubicBezTo>
                  <a:cubicBezTo>
                    <a:pt x="65779" y="84088"/>
                    <a:pt x="63537" y="84462"/>
                    <a:pt x="61295" y="84836"/>
                  </a:cubicBezTo>
                  <a:cubicBezTo>
                    <a:pt x="67274" y="152480"/>
                    <a:pt x="72880" y="220124"/>
                    <a:pt x="78860" y="286648"/>
                  </a:cubicBezTo>
                  <a:cubicBezTo>
                    <a:pt x="41113" y="275062"/>
                    <a:pt x="377" y="220124"/>
                    <a:pt x="4" y="177146"/>
                  </a:cubicBezTo>
                  <a:cubicBezTo>
                    <a:pt x="-370" y="137157"/>
                    <a:pt x="29154" y="35878"/>
                    <a:pt x="52325" y="0"/>
                  </a:cubicBezTo>
                  <a:cubicBezTo>
                    <a:pt x="93061" y="46716"/>
                    <a:pt x="133424" y="93058"/>
                    <a:pt x="155473" y="152106"/>
                  </a:cubicBezTo>
                  <a:cubicBezTo>
                    <a:pt x="162948" y="172288"/>
                    <a:pt x="162200" y="193216"/>
                    <a:pt x="155847" y="213397"/>
                  </a:cubicBezTo>
                  <a:cubicBezTo>
                    <a:pt x="146878" y="239932"/>
                    <a:pt x="132302" y="262729"/>
                    <a:pt x="115485" y="282163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77" name="Freeform: Shape 976">
              <a:extLst>
                <a:ext uri="{FF2B5EF4-FFF2-40B4-BE49-F238E27FC236}">
                  <a16:creationId xmlns:a16="http://schemas.microsoft.com/office/drawing/2014/main" id="{67262CEA-053E-4B87-9614-185D860238FE}"/>
                </a:ext>
              </a:extLst>
            </p:cNvPr>
            <p:cNvSpPr/>
            <p:nvPr/>
          </p:nvSpPr>
          <p:spPr>
            <a:xfrm>
              <a:off x="6637102" y="3120933"/>
              <a:ext cx="218075" cy="385433"/>
            </a:xfrm>
            <a:custGeom>
              <a:avLst/>
              <a:gdLst>
                <a:gd name="connsiteX0" fmla="*/ 67104 w 160701"/>
                <a:gd name="connsiteY0" fmla="*/ 285526 h 284031"/>
                <a:gd name="connsiteX1" fmla="*/ 111577 w 160701"/>
                <a:gd name="connsiteY1" fmla="*/ 84462 h 284031"/>
                <a:gd name="connsiteX2" fmla="*/ 106719 w 160701"/>
                <a:gd name="connsiteY2" fmla="*/ 82967 h 284031"/>
                <a:gd name="connsiteX3" fmla="*/ 80558 w 160701"/>
                <a:gd name="connsiteY3" fmla="*/ 144258 h 284031"/>
                <a:gd name="connsiteX4" fmla="*/ 55892 w 160701"/>
                <a:gd name="connsiteY4" fmla="*/ 208165 h 284031"/>
                <a:gd name="connsiteX5" fmla="*/ 34590 w 160701"/>
                <a:gd name="connsiteY5" fmla="*/ 272820 h 284031"/>
                <a:gd name="connsiteX6" fmla="*/ 14409 w 160701"/>
                <a:gd name="connsiteY6" fmla="*/ 128935 h 284031"/>
                <a:gd name="connsiteX7" fmla="*/ 133253 w 160701"/>
                <a:gd name="connsiteY7" fmla="*/ 0 h 284031"/>
                <a:gd name="connsiteX8" fmla="*/ 148576 w 160701"/>
                <a:gd name="connsiteY8" fmla="*/ 61665 h 284031"/>
                <a:gd name="connsiteX9" fmla="*/ 160909 w 160701"/>
                <a:gd name="connsiteY9" fmla="*/ 166308 h 284031"/>
                <a:gd name="connsiteX10" fmla="*/ 117931 w 160701"/>
                <a:gd name="connsiteY10" fmla="*/ 253386 h 284031"/>
                <a:gd name="connsiteX11" fmla="*/ 67104 w 160701"/>
                <a:gd name="connsiteY11" fmla="*/ 285526 h 2840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0701" h="284031">
                  <a:moveTo>
                    <a:pt x="67104" y="285526"/>
                  </a:moveTo>
                  <a:cubicBezTo>
                    <a:pt x="82427" y="216387"/>
                    <a:pt x="97002" y="150238"/>
                    <a:pt x="111577" y="84462"/>
                  </a:cubicBezTo>
                  <a:cubicBezTo>
                    <a:pt x="110083" y="84088"/>
                    <a:pt x="108588" y="83341"/>
                    <a:pt x="106719" y="82967"/>
                  </a:cubicBezTo>
                  <a:cubicBezTo>
                    <a:pt x="98123" y="103148"/>
                    <a:pt x="88780" y="123703"/>
                    <a:pt x="80558" y="144258"/>
                  </a:cubicBezTo>
                  <a:cubicBezTo>
                    <a:pt x="71963" y="165187"/>
                    <a:pt x="63367" y="186489"/>
                    <a:pt x="55892" y="208165"/>
                  </a:cubicBezTo>
                  <a:cubicBezTo>
                    <a:pt x="48418" y="229467"/>
                    <a:pt x="41691" y="251517"/>
                    <a:pt x="34590" y="272820"/>
                  </a:cubicBezTo>
                  <a:cubicBezTo>
                    <a:pt x="-1288" y="228346"/>
                    <a:pt x="-11378" y="169671"/>
                    <a:pt x="14409" y="128935"/>
                  </a:cubicBezTo>
                  <a:cubicBezTo>
                    <a:pt x="45428" y="79604"/>
                    <a:pt x="87285" y="40362"/>
                    <a:pt x="133253" y="0"/>
                  </a:cubicBezTo>
                  <a:cubicBezTo>
                    <a:pt x="138859" y="22050"/>
                    <a:pt x="145213" y="41484"/>
                    <a:pt x="148576" y="61665"/>
                  </a:cubicBezTo>
                  <a:cubicBezTo>
                    <a:pt x="153808" y="96421"/>
                    <a:pt x="158667" y="131178"/>
                    <a:pt x="160909" y="166308"/>
                  </a:cubicBezTo>
                  <a:cubicBezTo>
                    <a:pt x="163525" y="202933"/>
                    <a:pt x="146334" y="231710"/>
                    <a:pt x="117931" y="253386"/>
                  </a:cubicBezTo>
                  <a:cubicBezTo>
                    <a:pt x="102234" y="264598"/>
                    <a:pt x="84669" y="274315"/>
                    <a:pt x="67104" y="285526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78" name="Freeform: Shape 977">
              <a:extLst>
                <a:ext uri="{FF2B5EF4-FFF2-40B4-BE49-F238E27FC236}">
                  <a16:creationId xmlns:a16="http://schemas.microsoft.com/office/drawing/2014/main" id="{412D7F16-2DF0-44E6-AF4D-91AC605B40E0}"/>
                </a:ext>
              </a:extLst>
            </p:cNvPr>
            <p:cNvSpPr/>
            <p:nvPr/>
          </p:nvSpPr>
          <p:spPr>
            <a:xfrm>
              <a:off x="5336010" y="3122455"/>
              <a:ext cx="218075" cy="375291"/>
            </a:xfrm>
            <a:custGeom>
              <a:avLst/>
              <a:gdLst>
                <a:gd name="connsiteX0" fmla="*/ 127833 w 160701"/>
                <a:gd name="connsiteY0" fmla="*/ 271698 h 276556"/>
                <a:gd name="connsiteX1" fmla="*/ 93450 w 160701"/>
                <a:gd name="connsiteY1" fmla="*/ 174904 h 276556"/>
                <a:gd name="connsiteX2" fmla="*/ 54956 w 160701"/>
                <a:gd name="connsiteY2" fmla="*/ 81472 h 276556"/>
                <a:gd name="connsiteX3" fmla="*/ 49724 w 160701"/>
                <a:gd name="connsiteY3" fmla="*/ 82967 h 276556"/>
                <a:gd name="connsiteX4" fmla="*/ 93076 w 160701"/>
                <a:gd name="connsiteY4" fmla="*/ 279920 h 276556"/>
                <a:gd name="connsiteX5" fmla="*/ 392 w 160701"/>
                <a:gd name="connsiteY5" fmla="*/ 172287 h 276556"/>
                <a:gd name="connsiteX6" fmla="*/ 27674 w 160701"/>
                <a:gd name="connsiteY6" fmla="*/ 0 h 276556"/>
                <a:gd name="connsiteX7" fmla="*/ 35896 w 160701"/>
                <a:gd name="connsiteY7" fmla="*/ 5232 h 276556"/>
                <a:gd name="connsiteX8" fmla="*/ 127833 w 160701"/>
                <a:gd name="connsiteY8" fmla="*/ 100532 h 276556"/>
                <a:gd name="connsiteX9" fmla="*/ 127833 w 160701"/>
                <a:gd name="connsiteY9" fmla="*/ 271698 h 276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0701" h="276556">
                  <a:moveTo>
                    <a:pt x="127833" y="271698"/>
                  </a:moveTo>
                  <a:cubicBezTo>
                    <a:pt x="116247" y="239184"/>
                    <a:pt x="105409" y="206670"/>
                    <a:pt x="93450" y="174904"/>
                  </a:cubicBezTo>
                  <a:cubicBezTo>
                    <a:pt x="81491" y="143511"/>
                    <a:pt x="68037" y="112865"/>
                    <a:pt x="54956" y="81472"/>
                  </a:cubicBezTo>
                  <a:cubicBezTo>
                    <a:pt x="53088" y="81846"/>
                    <a:pt x="51593" y="82593"/>
                    <a:pt x="49724" y="82967"/>
                  </a:cubicBezTo>
                  <a:cubicBezTo>
                    <a:pt x="64300" y="149116"/>
                    <a:pt x="78501" y="214892"/>
                    <a:pt x="93076" y="279920"/>
                  </a:cubicBezTo>
                  <a:cubicBezTo>
                    <a:pt x="48229" y="270951"/>
                    <a:pt x="2635" y="220124"/>
                    <a:pt x="392" y="172287"/>
                  </a:cubicBezTo>
                  <a:cubicBezTo>
                    <a:pt x="-2597" y="113239"/>
                    <a:pt x="11978" y="57180"/>
                    <a:pt x="27674" y="0"/>
                  </a:cubicBezTo>
                  <a:cubicBezTo>
                    <a:pt x="31038" y="2242"/>
                    <a:pt x="34028" y="3364"/>
                    <a:pt x="35896" y="5232"/>
                  </a:cubicBezTo>
                  <a:cubicBezTo>
                    <a:pt x="66916" y="36625"/>
                    <a:pt x="99803" y="66523"/>
                    <a:pt x="127833" y="100532"/>
                  </a:cubicBezTo>
                  <a:cubicBezTo>
                    <a:pt x="173801" y="156965"/>
                    <a:pt x="172306" y="212650"/>
                    <a:pt x="127833" y="271698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79" name="Freeform: Shape 978">
              <a:extLst>
                <a:ext uri="{FF2B5EF4-FFF2-40B4-BE49-F238E27FC236}">
                  <a16:creationId xmlns:a16="http://schemas.microsoft.com/office/drawing/2014/main" id="{131A9344-0A11-43AA-A9B7-69B8057D2FA1}"/>
                </a:ext>
              </a:extLst>
            </p:cNvPr>
            <p:cNvSpPr/>
            <p:nvPr/>
          </p:nvSpPr>
          <p:spPr>
            <a:xfrm>
              <a:off x="5523634" y="2012302"/>
              <a:ext cx="223145" cy="329649"/>
            </a:xfrm>
            <a:custGeom>
              <a:avLst/>
              <a:gdLst>
                <a:gd name="connsiteX0" fmla="*/ 128596 w 164439"/>
                <a:gd name="connsiteY0" fmla="*/ 237316 h 242921"/>
                <a:gd name="connsiteX1" fmla="*/ 61699 w 164439"/>
                <a:gd name="connsiteY1" fmla="*/ 70260 h 242921"/>
                <a:gd name="connsiteX2" fmla="*/ 57215 w 164439"/>
                <a:gd name="connsiteY2" fmla="*/ 71755 h 242921"/>
                <a:gd name="connsiteX3" fmla="*/ 66184 w 164439"/>
                <a:gd name="connsiteY3" fmla="*/ 128935 h 242921"/>
                <a:gd name="connsiteX4" fmla="*/ 77770 w 164439"/>
                <a:gd name="connsiteY4" fmla="*/ 188731 h 242921"/>
                <a:gd name="connsiteX5" fmla="*/ 93092 w 164439"/>
                <a:gd name="connsiteY5" fmla="*/ 245911 h 242921"/>
                <a:gd name="connsiteX6" fmla="*/ 35 w 164439"/>
                <a:gd name="connsiteY6" fmla="*/ 148743 h 242921"/>
                <a:gd name="connsiteX7" fmla="*/ 37033 w 164439"/>
                <a:gd name="connsiteY7" fmla="*/ 0 h 242921"/>
                <a:gd name="connsiteX8" fmla="*/ 63942 w 164439"/>
                <a:gd name="connsiteY8" fmla="*/ 19807 h 242921"/>
                <a:gd name="connsiteX9" fmla="*/ 142050 w 164439"/>
                <a:gd name="connsiteY9" fmla="*/ 93058 h 242921"/>
                <a:gd name="connsiteX10" fmla="*/ 153636 w 164439"/>
                <a:gd name="connsiteY10" fmla="*/ 196206 h 242921"/>
                <a:gd name="connsiteX11" fmla="*/ 128596 w 164439"/>
                <a:gd name="connsiteY11" fmla="*/ 237316 h 24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4439" h="242921">
                  <a:moveTo>
                    <a:pt x="128596" y="237316"/>
                  </a:moveTo>
                  <a:cubicBezTo>
                    <a:pt x="105799" y="180509"/>
                    <a:pt x="83749" y="125198"/>
                    <a:pt x="61699" y="70260"/>
                  </a:cubicBezTo>
                  <a:cubicBezTo>
                    <a:pt x="60205" y="70634"/>
                    <a:pt x="58710" y="71382"/>
                    <a:pt x="57215" y="71755"/>
                  </a:cubicBezTo>
                  <a:cubicBezTo>
                    <a:pt x="60205" y="90815"/>
                    <a:pt x="62821" y="109875"/>
                    <a:pt x="66184" y="128935"/>
                  </a:cubicBezTo>
                  <a:cubicBezTo>
                    <a:pt x="69548" y="149116"/>
                    <a:pt x="73285" y="168924"/>
                    <a:pt x="77770" y="188731"/>
                  </a:cubicBezTo>
                  <a:cubicBezTo>
                    <a:pt x="82254" y="208165"/>
                    <a:pt x="87860" y="226851"/>
                    <a:pt x="93092" y="245911"/>
                  </a:cubicBezTo>
                  <a:cubicBezTo>
                    <a:pt x="45629" y="244043"/>
                    <a:pt x="-1460" y="196206"/>
                    <a:pt x="35" y="148743"/>
                  </a:cubicBezTo>
                  <a:cubicBezTo>
                    <a:pt x="1530" y="97169"/>
                    <a:pt x="18721" y="49705"/>
                    <a:pt x="37033" y="0"/>
                  </a:cubicBezTo>
                  <a:cubicBezTo>
                    <a:pt x="46750" y="7101"/>
                    <a:pt x="56094" y="12707"/>
                    <a:pt x="63942" y="19807"/>
                  </a:cubicBezTo>
                  <a:cubicBezTo>
                    <a:pt x="90476" y="43726"/>
                    <a:pt x="117384" y="67271"/>
                    <a:pt x="142050" y="93058"/>
                  </a:cubicBezTo>
                  <a:cubicBezTo>
                    <a:pt x="171575" y="123703"/>
                    <a:pt x="173070" y="159207"/>
                    <a:pt x="153636" y="196206"/>
                  </a:cubicBezTo>
                  <a:cubicBezTo>
                    <a:pt x="145788" y="210407"/>
                    <a:pt x="136445" y="223862"/>
                    <a:pt x="128596" y="237316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80" name="Freeform: Shape 979">
              <a:extLst>
                <a:ext uri="{FF2B5EF4-FFF2-40B4-BE49-F238E27FC236}">
                  <a16:creationId xmlns:a16="http://schemas.microsoft.com/office/drawing/2014/main" id="{8D0B181D-F653-485B-ADEE-4F05664D7F73}"/>
                </a:ext>
              </a:extLst>
            </p:cNvPr>
            <p:cNvSpPr/>
            <p:nvPr/>
          </p:nvSpPr>
          <p:spPr>
            <a:xfrm>
              <a:off x="4839912" y="3901873"/>
              <a:ext cx="329649" cy="461507"/>
            </a:xfrm>
            <a:custGeom>
              <a:avLst/>
              <a:gdLst>
                <a:gd name="connsiteX0" fmla="*/ 243391 w 242921"/>
                <a:gd name="connsiteY0" fmla="*/ 340143 h 340090"/>
                <a:gd name="connsiteX1" fmla="*/ 152576 w 242921"/>
                <a:gd name="connsiteY1" fmla="*/ 312114 h 340090"/>
                <a:gd name="connsiteX2" fmla="*/ 131274 w 242921"/>
                <a:gd name="connsiteY2" fmla="*/ 288943 h 340090"/>
                <a:gd name="connsiteX3" fmla="*/ 7944 w 242921"/>
                <a:gd name="connsiteY3" fmla="*/ 47890 h 340090"/>
                <a:gd name="connsiteX4" fmla="*/ 8318 w 242921"/>
                <a:gd name="connsiteY4" fmla="*/ 7527 h 340090"/>
                <a:gd name="connsiteX5" fmla="*/ 54286 w 242921"/>
                <a:gd name="connsiteY5" fmla="*/ 6780 h 340090"/>
                <a:gd name="connsiteX6" fmla="*/ 63629 w 242921"/>
                <a:gd name="connsiteY6" fmla="*/ 19113 h 340090"/>
                <a:gd name="connsiteX7" fmla="*/ 129779 w 242921"/>
                <a:gd name="connsiteY7" fmla="*/ 172714 h 340090"/>
                <a:gd name="connsiteX8" fmla="*/ 238159 w 242921"/>
                <a:gd name="connsiteY8" fmla="*/ 331174 h 340090"/>
                <a:gd name="connsiteX9" fmla="*/ 243391 w 242921"/>
                <a:gd name="connsiteY9" fmla="*/ 340143 h 34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921" h="340090">
                  <a:moveTo>
                    <a:pt x="243391" y="340143"/>
                  </a:moveTo>
                  <a:cubicBezTo>
                    <a:pt x="210503" y="334537"/>
                    <a:pt x="179858" y="328558"/>
                    <a:pt x="152576" y="312114"/>
                  </a:cubicBezTo>
                  <a:cubicBezTo>
                    <a:pt x="143980" y="306882"/>
                    <a:pt x="135758" y="297912"/>
                    <a:pt x="131274" y="288943"/>
                  </a:cubicBezTo>
                  <a:cubicBezTo>
                    <a:pt x="89790" y="208965"/>
                    <a:pt x="48680" y="128241"/>
                    <a:pt x="7944" y="47890"/>
                  </a:cubicBezTo>
                  <a:cubicBezTo>
                    <a:pt x="-2894" y="26961"/>
                    <a:pt x="-2520" y="16871"/>
                    <a:pt x="8318" y="7527"/>
                  </a:cubicBezTo>
                  <a:cubicBezTo>
                    <a:pt x="19156" y="-2190"/>
                    <a:pt x="40084" y="-2563"/>
                    <a:pt x="54286" y="6780"/>
                  </a:cubicBezTo>
                  <a:cubicBezTo>
                    <a:pt x="58397" y="9396"/>
                    <a:pt x="62882" y="14628"/>
                    <a:pt x="63629" y="19113"/>
                  </a:cubicBezTo>
                  <a:cubicBezTo>
                    <a:pt x="72972" y="75919"/>
                    <a:pt x="99507" y="125251"/>
                    <a:pt x="129779" y="172714"/>
                  </a:cubicBezTo>
                  <a:cubicBezTo>
                    <a:pt x="163788" y="226904"/>
                    <a:pt x="201908" y="278478"/>
                    <a:pt x="238159" y="331174"/>
                  </a:cubicBezTo>
                  <a:cubicBezTo>
                    <a:pt x="239280" y="333416"/>
                    <a:pt x="240775" y="336032"/>
                    <a:pt x="243391" y="340143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81" name="Freeform: Shape 980">
              <a:extLst>
                <a:ext uri="{FF2B5EF4-FFF2-40B4-BE49-F238E27FC236}">
                  <a16:creationId xmlns:a16="http://schemas.microsoft.com/office/drawing/2014/main" id="{E68C16A6-FC21-49DC-939A-BBFBD76D5CE8}"/>
                </a:ext>
              </a:extLst>
            </p:cNvPr>
            <p:cNvSpPr/>
            <p:nvPr/>
          </p:nvSpPr>
          <p:spPr>
            <a:xfrm>
              <a:off x="7070997" y="3900872"/>
              <a:ext cx="329649" cy="461507"/>
            </a:xfrm>
            <a:custGeom>
              <a:avLst/>
              <a:gdLst>
                <a:gd name="connsiteX0" fmla="*/ 0 w 242921"/>
                <a:gd name="connsiteY0" fmla="*/ 340881 h 340090"/>
                <a:gd name="connsiteX1" fmla="*/ 82593 w 242921"/>
                <a:gd name="connsiteY1" fmla="*/ 222784 h 340090"/>
                <a:gd name="connsiteX2" fmla="*/ 169298 w 242921"/>
                <a:gd name="connsiteY2" fmla="*/ 58718 h 340090"/>
                <a:gd name="connsiteX3" fmla="*/ 177893 w 242921"/>
                <a:gd name="connsiteY3" fmla="*/ 23962 h 340090"/>
                <a:gd name="connsiteX4" fmla="*/ 200691 w 242921"/>
                <a:gd name="connsiteY4" fmla="*/ 1912 h 340090"/>
                <a:gd name="connsiteX5" fmla="*/ 237689 w 242921"/>
                <a:gd name="connsiteY5" fmla="*/ 10881 h 340090"/>
                <a:gd name="connsiteX6" fmla="*/ 238437 w 242921"/>
                <a:gd name="connsiteY6" fmla="*/ 41527 h 340090"/>
                <a:gd name="connsiteX7" fmla="*/ 107633 w 242921"/>
                <a:gd name="connsiteY7" fmla="*/ 297155 h 340090"/>
                <a:gd name="connsiteX8" fmla="*/ 90442 w 242921"/>
                <a:gd name="connsiteY8" fmla="*/ 312852 h 340090"/>
                <a:gd name="connsiteX9" fmla="*/ 0 w 242921"/>
                <a:gd name="connsiteY9" fmla="*/ 340881 h 340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2921" h="340090">
                  <a:moveTo>
                    <a:pt x="0" y="340881"/>
                  </a:moveTo>
                  <a:cubicBezTo>
                    <a:pt x="28777" y="300145"/>
                    <a:pt x="56432" y="262025"/>
                    <a:pt x="82593" y="222784"/>
                  </a:cubicBezTo>
                  <a:cubicBezTo>
                    <a:pt x="116976" y="171210"/>
                    <a:pt x="149117" y="117767"/>
                    <a:pt x="169298" y="58718"/>
                  </a:cubicBezTo>
                  <a:cubicBezTo>
                    <a:pt x="173035" y="47506"/>
                    <a:pt x="176399" y="35921"/>
                    <a:pt x="177893" y="23962"/>
                  </a:cubicBezTo>
                  <a:cubicBezTo>
                    <a:pt x="179762" y="9760"/>
                    <a:pt x="189105" y="4902"/>
                    <a:pt x="200691" y="1912"/>
                  </a:cubicBezTo>
                  <a:cubicBezTo>
                    <a:pt x="214519" y="-1825"/>
                    <a:pt x="227599" y="-704"/>
                    <a:pt x="237689" y="10881"/>
                  </a:cubicBezTo>
                  <a:cubicBezTo>
                    <a:pt x="246285" y="20598"/>
                    <a:pt x="243669" y="31062"/>
                    <a:pt x="238437" y="41527"/>
                  </a:cubicBezTo>
                  <a:cubicBezTo>
                    <a:pt x="195085" y="126736"/>
                    <a:pt x="151732" y="212319"/>
                    <a:pt x="107633" y="297155"/>
                  </a:cubicBezTo>
                  <a:cubicBezTo>
                    <a:pt x="104270" y="303508"/>
                    <a:pt x="97169" y="308741"/>
                    <a:pt x="90442" y="312852"/>
                  </a:cubicBezTo>
                  <a:cubicBezTo>
                    <a:pt x="63160" y="328922"/>
                    <a:pt x="32514" y="335275"/>
                    <a:pt x="0" y="340881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82" name="Freeform: Shape 981">
              <a:extLst>
                <a:ext uri="{FF2B5EF4-FFF2-40B4-BE49-F238E27FC236}">
                  <a16:creationId xmlns:a16="http://schemas.microsoft.com/office/drawing/2014/main" id="{9E3F0D74-5B0D-4143-95D1-CC01F6BB150A}"/>
                </a:ext>
              </a:extLst>
            </p:cNvPr>
            <p:cNvSpPr/>
            <p:nvPr/>
          </p:nvSpPr>
          <p:spPr>
            <a:xfrm>
              <a:off x="6215011" y="2317100"/>
              <a:ext cx="157217" cy="344862"/>
            </a:xfrm>
            <a:custGeom>
              <a:avLst/>
              <a:gdLst>
                <a:gd name="connsiteX0" fmla="*/ 48149 w 115854"/>
                <a:gd name="connsiteY0" fmla="*/ 0 h 254133"/>
                <a:gd name="connsiteX1" fmla="*/ 112803 w 115854"/>
                <a:gd name="connsiteY1" fmla="*/ 137905 h 254133"/>
                <a:gd name="connsiteX2" fmla="*/ 77299 w 115854"/>
                <a:gd name="connsiteY2" fmla="*/ 251891 h 254133"/>
                <a:gd name="connsiteX3" fmla="*/ 55623 w 115854"/>
                <a:gd name="connsiteY3" fmla="*/ 78856 h 254133"/>
                <a:gd name="connsiteX4" fmla="*/ 51139 w 115854"/>
                <a:gd name="connsiteY4" fmla="*/ 79230 h 254133"/>
                <a:gd name="connsiteX5" fmla="*/ 51139 w 115854"/>
                <a:gd name="connsiteY5" fmla="*/ 254507 h 254133"/>
                <a:gd name="connsiteX6" fmla="*/ 312 w 115854"/>
                <a:gd name="connsiteY6" fmla="*/ 151733 h 254133"/>
                <a:gd name="connsiteX7" fmla="*/ 48149 w 115854"/>
                <a:gd name="connsiteY7" fmla="*/ 0 h 254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5854" h="254133">
                  <a:moveTo>
                    <a:pt x="48149" y="0"/>
                  </a:moveTo>
                  <a:cubicBezTo>
                    <a:pt x="75805" y="45221"/>
                    <a:pt x="100470" y="88573"/>
                    <a:pt x="112803" y="137905"/>
                  </a:cubicBezTo>
                  <a:cubicBezTo>
                    <a:pt x="124015" y="182378"/>
                    <a:pt x="104208" y="217882"/>
                    <a:pt x="77299" y="251891"/>
                  </a:cubicBezTo>
                  <a:cubicBezTo>
                    <a:pt x="69825" y="193216"/>
                    <a:pt x="62724" y="136036"/>
                    <a:pt x="55623" y="78856"/>
                  </a:cubicBezTo>
                  <a:cubicBezTo>
                    <a:pt x="54129" y="78856"/>
                    <a:pt x="52634" y="79230"/>
                    <a:pt x="51139" y="79230"/>
                  </a:cubicBezTo>
                  <a:cubicBezTo>
                    <a:pt x="51139" y="136784"/>
                    <a:pt x="51139" y="194711"/>
                    <a:pt x="51139" y="254507"/>
                  </a:cubicBezTo>
                  <a:cubicBezTo>
                    <a:pt x="21241" y="225357"/>
                    <a:pt x="-3052" y="194711"/>
                    <a:pt x="312" y="151733"/>
                  </a:cubicBezTo>
                  <a:cubicBezTo>
                    <a:pt x="4797" y="98664"/>
                    <a:pt x="26099" y="50453"/>
                    <a:pt x="48149" y="0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83" name="Freeform: Shape 982">
              <a:extLst>
                <a:ext uri="{FF2B5EF4-FFF2-40B4-BE49-F238E27FC236}">
                  <a16:creationId xmlns:a16="http://schemas.microsoft.com/office/drawing/2014/main" id="{64B44441-8CDA-4235-83E1-B97DD863C5B5}"/>
                </a:ext>
              </a:extLst>
            </p:cNvPr>
            <p:cNvSpPr/>
            <p:nvPr/>
          </p:nvSpPr>
          <p:spPr>
            <a:xfrm>
              <a:off x="5107760" y="3236056"/>
              <a:ext cx="162288" cy="329649"/>
            </a:xfrm>
            <a:custGeom>
              <a:avLst/>
              <a:gdLst>
                <a:gd name="connsiteX0" fmla="*/ 100200 w 119592"/>
                <a:gd name="connsiteY0" fmla="*/ 236942 h 242921"/>
                <a:gd name="connsiteX1" fmla="*/ 40030 w 119592"/>
                <a:gd name="connsiteY1" fmla="*/ 73250 h 242921"/>
                <a:gd name="connsiteX2" fmla="*/ 34798 w 119592"/>
                <a:gd name="connsiteY2" fmla="*/ 74745 h 242921"/>
                <a:gd name="connsiteX3" fmla="*/ 74039 w 119592"/>
                <a:gd name="connsiteY3" fmla="*/ 242922 h 242921"/>
                <a:gd name="connsiteX4" fmla="*/ 2284 w 119592"/>
                <a:gd name="connsiteY4" fmla="*/ 153975 h 242921"/>
                <a:gd name="connsiteX5" fmla="*/ 14617 w 119592"/>
                <a:gd name="connsiteY5" fmla="*/ 0 h 242921"/>
                <a:gd name="connsiteX6" fmla="*/ 25829 w 119592"/>
                <a:gd name="connsiteY6" fmla="*/ 9717 h 242921"/>
                <a:gd name="connsiteX7" fmla="*/ 105432 w 119592"/>
                <a:gd name="connsiteY7" fmla="*/ 111370 h 242921"/>
                <a:gd name="connsiteX8" fmla="*/ 100200 w 119592"/>
                <a:gd name="connsiteY8" fmla="*/ 236942 h 24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9592" h="242921">
                  <a:moveTo>
                    <a:pt x="100200" y="236942"/>
                  </a:moveTo>
                  <a:cubicBezTo>
                    <a:pt x="80019" y="181631"/>
                    <a:pt x="59838" y="127440"/>
                    <a:pt x="40030" y="73250"/>
                  </a:cubicBezTo>
                  <a:cubicBezTo>
                    <a:pt x="38162" y="73624"/>
                    <a:pt x="36667" y="74371"/>
                    <a:pt x="34798" y="74745"/>
                  </a:cubicBezTo>
                  <a:cubicBezTo>
                    <a:pt x="47878" y="131178"/>
                    <a:pt x="60959" y="187610"/>
                    <a:pt x="74039" y="242922"/>
                  </a:cubicBezTo>
                  <a:cubicBezTo>
                    <a:pt x="40404" y="230962"/>
                    <a:pt x="7142" y="190974"/>
                    <a:pt x="2284" y="153975"/>
                  </a:cubicBezTo>
                  <a:cubicBezTo>
                    <a:pt x="-4443" y="102401"/>
                    <a:pt x="4900" y="52322"/>
                    <a:pt x="14617" y="0"/>
                  </a:cubicBezTo>
                  <a:cubicBezTo>
                    <a:pt x="19475" y="4111"/>
                    <a:pt x="23213" y="6727"/>
                    <a:pt x="25829" y="9717"/>
                  </a:cubicBezTo>
                  <a:cubicBezTo>
                    <a:pt x="52737" y="43352"/>
                    <a:pt x="81514" y="75866"/>
                    <a:pt x="105432" y="111370"/>
                  </a:cubicBezTo>
                  <a:cubicBezTo>
                    <a:pt x="132340" y="152854"/>
                    <a:pt x="120755" y="195832"/>
                    <a:pt x="100200" y="236942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84" name="Freeform: Shape 983">
              <a:extLst>
                <a:ext uri="{FF2B5EF4-FFF2-40B4-BE49-F238E27FC236}">
                  <a16:creationId xmlns:a16="http://schemas.microsoft.com/office/drawing/2014/main" id="{B6CD224F-8140-40BB-8353-9543DADC34B0}"/>
                </a:ext>
              </a:extLst>
            </p:cNvPr>
            <p:cNvSpPr/>
            <p:nvPr/>
          </p:nvSpPr>
          <p:spPr>
            <a:xfrm>
              <a:off x="6920146" y="3233522"/>
              <a:ext cx="162288" cy="334719"/>
            </a:xfrm>
            <a:custGeom>
              <a:avLst/>
              <a:gdLst>
                <a:gd name="connsiteX0" fmla="*/ 20348 w 119592"/>
                <a:gd name="connsiteY0" fmla="*/ 238811 h 246658"/>
                <a:gd name="connsiteX1" fmla="*/ 8015 w 119592"/>
                <a:gd name="connsiteY1" fmla="*/ 128562 h 246658"/>
                <a:gd name="connsiteX2" fmla="*/ 105931 w 119592"/>
                <a:gd name="connsiteY2" fmla="*/ 0 h 246658"/>
                <a:gd name="connsiteX3" fmla="*/ 115274 w 119592"/>
                <a:gd name="connsiteY3" fmla="*/ 168924 h 246658"/>
                <a:gd name="connsiteX4" fmla="*/ 46135 w 119592"/>
                <a:gd name="connsiteY4" fmla="*/ 246659 h 246658"/>
                <a:gd name="connsiteX5" fmla="*/ 86123 w 119592"/>
                <a:gd name="connsiteY5" fmla="*/ 75866 h 246658"/>
                <a:gd name="connsiteX6" fmla="*/ 80891 w 119592"/>
                <a:gd name="connsiteY6" fmla="*/ 74371 h 246658"/>
                <a:gd name="connsiteX7" fmla="*/ 20348 w 119592"/>
                <a:gd name="connsiteY7" fmla="*/ 238811 h 246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592" h="246658">
                  <a:moveTo>
                    <a:pt x="20348" y="238811"/>
                  </a:moveTo>
                  <a:cubicBezTo>
                    <a:pt x="3530" y="202933"/>
                    <a:pt x="-8803" y="167055"/>
                    <a:pt x="8015" y="128562"/>
                  </a:cubicBezTo>
                  <a:cubicBezTo>
                    <a:pt x="29317" y="78856"/>
                    <a:pt x="67064" y="41110"/>
                    <a:pt x="105931" y="0"/>
                  </a:cubicBezTo>
                  <a:cubicBezTo>
                    <a:pt x="116021" y="58301"/>
                    <a:pt x="128728" y="113239"/>
                    <a:pt x="115274" y="168924"/>
                  </a:cubicBezTo>
                  <a:cubicBezTo>
                    <a:pt x="106305" y="206296"/>
                    <a:pt x="77154" y="227599"/>
                    <a:pt x="46135" y="246659"/>
                  </a:cubicBezTo>
                  <a:cubicBezTo>
                    <a:pt x="59589" y="189479"/>
                    <a:pt x="72669" y="132673"/>
                    <a:pt x="86123" y="75866"/>
                  </a:cubicBezTo>
                  <a:cubicBezTo>
                    <a:pt x="84255" y="75492"/>
                    <a:pt x="82760" y="74745"/>
                    <a:pt x="80891" y="74371"/>
                  </a:cubicBezTo>
                  <a:cubicBezTo>
                    <a:pt x="60710" y="128935"/>
                    <a:pt x="40903" y="182752"/>
                    <a:pt x="20348" y="23881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85" name="Freeform: Shape 984">
              <a:extLst>
                <a:ext uri="{FF2B5EF4-FFF2-40B4-BE49-F238E27FC236}">
                  <a16:creationId xmlns:a16="http://schemas.microsoft.com/office/drawing/2014/main" id="{00263F6A-FBA2-4D5E-89DC-B4140F8208B8}"/>
                </a:ext>
              </a:extLst>
            </p:cNvPr>
            <p:cNvSpPr/>
            <p:nvPr/>
          </p:nvSpPr>
          <p:spPr>
            <a:xfrm>
              <a:off x="4488594" y="2268920"/>
              <a:ext cx="162288" cy="329649"/>
            </a:xfrm>
            <a:custGeom>
              <a:avLst/>
              <a:gdLst>
                <a:gd name="connsiteX0" fmla="*/ 100153 w 119592"/>
                <a:gd name="connsiteY0" fmla="*/ 238063 h 242921"/>
                <a:gd name="connsiteX1" fmla="*/ 39235 w 119592"/>
                <a:gd name="connsiteY1" fmla="*/ 73250 h 242921"/>
                <a:gd name="connsiteX2" fmla="*/ 34377 w 119592"/>
                <a:gd name="connsiteY2" fmla="*/ 74745 h 242921"/>
                <a:gd name="connsiteX3" fmla="*/ 74365 w 119592"/>
                <a:gd name="connsiteY3" fmla="*/ 245911 h 242921"/>
                <a:gd name="connsiteX4" fmla="*/ 1115 w 119592"/>
                <a:gd name="connsiteY4" fmla="*/ 146874 h 242921"/>
                <a:gd name="connsiteX5" fmla="*/ 14943 w 119592"/>
                <a:gd name="connsiteY5" fmla="*/ 0 h 242921"/>
                <a:gd name="connsiteX6" fmla="*/ 113607 w 119592"/>
                <a:gd name="connsiteY6" fmla="*/ 130430 h 242921"/>
                <a:gd name="connsiteX7" fmla="*/ 100153 w 119592"/>
                <a:gd name="connsiteY7" fmla="*/ 238063 h 24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592" h="242921">
                  <a:moveTo>
                    <a:pt x="100153" y="238063"/>
                  </a:moveTo>
                  <a:cubicBezTo>
                    <a:pt x="79598" y="182378"/>
                    <a:pt x="59416" y="127814"/>
                    <a:pt x="39235" y="73250"/>
                  </a:cubicBezTo>
                  <a:cubicBezTo>
                    <a:pt x="37740" y="73624"/>
                    <a:pt x="35872" y="74371"/>
                    <a:pt x="34377" y="74745"/>
                  </a:cubicBezTo>
                  <a:cubicBezTo>
                    <a:pt x="47457" y="131551"/>
                    <a:pt x="60911" y="188358"/>
                    <a:pt x="74365" y="245911"/>
                  </a:cubicBezTo>
                  <a:cubicBezTo>
                    <a:pt x="36245" y="223114"/>
                    <a:pt x="5226" y="195458"/>
                    <a:pt x="1115" y="146874"/>
                  </a:cubicBezTo>
                  <a:cubicBezTo>
                    <a:pt x="-2996" y="97916"/>
                    <a:pt x="4852" y="50453"/>
                    <a:pt x="14943" y="0"/>
                  </a:cubicBezTo>
                  <a:cubicBezTo>
                    <a:pt x="54184" y="41110"/>
                    <a:pt x="92678" y="79230"/>
                    <a:pt x="113607" y="130430"/>
                  </a:cubicBezTo>
                  <a:cubicBezTo>
                    <a:pt x="128929" y="168176"/>
                    <a:pt x="116970" y="203680"/>
                    <a:pt x="100153" y="238063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86" name="Freeform: Shape 985">
              <a:extLst>
                <a:ext uri="{FF2B5EF4-FFF2-40B4-BE49-F238E27FC236}">
                  <a16:creationId xmlns:a16="http://schemas.microsoft.com/office/drawing/2014/main" id="{9116808C-3110-463C-99C5-AB93676369A5}"/>
                </a:ext>
              </a:extLst>
            </p:cNvPr>
            <p:cNvSpPr/>
            <p:nvPr/>
          </p:nvSpPr>
          <p:spPr>
            <a:xfrm>
              <a:off x="7540576" y="2268414"/>
              <a:ext cx="162288" cy="329649"/>
            </a:xfrm>
            <a:custGeom>
              <a:avLst/>
              <a:gdLst>
                <a:gd name="connsiteX0" fmla="*/ 105049 w 119592"/>
                <a:gd name="connsiteY0" fmla="*/ 0 h 242921"/>
                <a:gd name="connsiteX1" fmla="*/ 118503 w 119592"/>
                <a:gd name="connsiteY1" fmla="*/ 148369 h 242921"/>
                <a:gd name="connsiteX2" fmla="*/ 45626 w 119592"/>
                <a:gd name="connsiteY2" fmla="*/ 245911 h 242921"/>
                <a:gd name="connsiteX3" fmla="*/ 85615 w 119592"/>
                <a:gd name="connsiteY3" fmla="*/ 74745 h 242921"/>
                <a:gd name="connsiteX4" fmla="*/ 80757 w 119592"/>
                <a:gd name="connsiteY4" fmla="*/ 73250 h 242921"/>
                <a:gd name="connsiteX5" fmla="*/ 20587 w 119592"/>
                <a:gd name="connsiteY5" fmla="*/ 235821 h 242921"/>
                <a:gd name="connsiteX6" fmla="*/ 7880 w 119592"/>
                <a:gd name="connsiteY6" fmla="*/ 126693 h 242921"/>
                <a:gd name="connsiteX7" fmla="*/ 105049 w 119592"/>
                <a:gd name="connsiteY7" fmla="*/ 0 h 24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592" h="242921">
                  <a:moveTo>
                    <a:pt x="105049" y="0"/>
                  </a:moveTo>
                  <a:cubicBezTo>
                    <a:pt x="114766" y="51574"/>
                    <a:pt x="122988" y="99411"/>
                    <a:pt x="118503" y="148369"/>
                  </a:cubicBezTo>
                  <a:cubicBezTo>
                    <a:pt x="114018" y="196206"/>
                    <a:pt x="83373" y="223488"/>
                    <a:pt x="45626" y="245911"/>
                  </a:cubicBezTo>
                  <a:cubicBezTo>
                    <a:pt x="59081" y="188358"/>
                    <a:pt x="72535" y="131551"/>
                    <a:pt x="85615" y="74745"/>
                  </a:cubicBezTo>
                  <a:cubicBezTo>
                    <a:pt x="84120" y="74371"/>
                    <a:pt x="82251" y="73624"/>
                    <a:pt x="80757" y="73250"/>
                  </a:cubicBezTo>
                  <a:cubicBezTo>
                    <a:pt x="60575" y="127814"/>
                    <a:pt x="40394" y="182004"/>
                    <a:pt x="20587" y="235821"/>
                  </a:cubicBezTo>
                  <a:cubicBezTo>
                    <a:pt x="406" y="212650"/>
                    <a:pt x="-7069" y="159207"/>
                    <a:pt x="7880" y="126693"/>
                  </a:cubicBezTo>
                  <a:cubicBezTo>
                    <a:pt x="29930" y="78109"/>
                    <a:pt x="66555" y="40362"/>
                    <a:pt x="105049" y="0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87" name="Freeform: Shape 986">
              <a:extLst>
                <a:ext uri="{FF2B5EF4-FFF2-40B4-BE49-F238E27FC236}">
                  <a16:creationId xmlns:a16="http://schemas.microsoft.com/office/drawing/2014/main" id="{CC2FFB34-7CAA-4631-9492-42F9C3BD4D74}"/>
                </a:ext>
              </a:extLst>
            </p:cNvPr>
            <p:cNvSpPr/>
            <p:nvPr/>
          </p:nvSpPr>
          <p:spPr>
            <a:xfrm>
              <a:off x="3784154" y="4001704"/>
              <a:ext cx="339791" cy="157217"/>
            </a:xfrm>
            <a:custGeom>
              <a:avLst/>
              <a:gdLst>
                <a:gd name="connsiteX0" fmla="*/ 247780 w 250396"/>
                <a:gd name="connsiteY0" fmla="*/ 32999 h 115854"/>
                <a:gd name="connsiteX1" fmla="*/ 76240 w 250396"/>
                <a:gd name="connsiteY1" fmla="*/ 66634 h 115854"/>
                <a:gd name="connsiteX2" fmla="*/ 76987 w 250396"/>
                <a:gd name="connsiteY2" fmla="*/ 71866 h 115854"/>
                <a:gd name="connsiteX3" fmla="*/ 251144 w 250396"/>
                <a:gd name="connsiteY3" fmla="*/ 59533 h 115854"/>
                <a:gd name="connsiteX4" fmla="*/ 132673 w 250396"/>
                <a:gd name="connsiteY4" fmla="*/ 115218 h 115854"/>
                <a:gd name="connsiteX5" fmla="*/ 0 w 250396"/>
                <a:gd name="connsiteY5" fmla="*/ 84199 h 115854"/>
                <a:gd name="connsiteX6" fmla="*/ 3364 w 250396"/>
                <a:gd name="connsiteY6" fmla="*/ 76725 h 115854"/>
                <a:gd name="connsiteX7" fmla="*/ 116602 w 250396"/>
                <a:gd name="connsiteY7" fmla="*/ 11323 h 115854"/>
                <a:gd name="connsiteX8" fmla="*/ 247780 w 250396"/>
                <a:gd name="connsiteY8" fmla="*/ 32999 h 115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0396" h="115854">
                  <a:moveTo>
                    <a:pt x="247780" y="32999"/>
                  </a:moveTo>
                  <a:cubicBezTo>
                    <a:pt x="189479" y="44584"/>
                    <a:pt x="133046" y="55796"/>
                    <a:pt x="76240" y="66634"/>
                  </a:cubicBezTo>
                  <a:cubicBezTo>
                    <a:pt x="76614" y="68503"/>
                    <a:pt x="76614" y="70371"/>
                    <a:pt x="76987" y="71866"/>
                  </a:cubicBezTo>
                  <a:cubicBezTo>
                    <a:pt x="134915" y="67755"/>
                    <a:pt x="192842" y="63644"/>
                    <a:pt x="251144" y="59533"/>
                  </a:cubicBezTo>
                  <a:cubicBezTo>
                    <a:pt x="220498" y="96906"/>
                    <a:pt x="184247" y="124188"/>
                    <a:pt x="132673" y="115218"/>
                  </a:cubicBezTo>
                  <a:cubicBezTo>
                    <a:pt x="88573" y="107370"/>
                    <a:pt x="44847" y="94663"/>
                    <a:pt x="0" y="84199"/>
                  </a:cubicBezTo>
                  <a:cubicBezTo>
                    <a:pt x="2242" y="78967"/>
                    <a:pt x="2616" y="77098"/>
                    <a:pt x="3364" y="76725"/>
                  </a:cubicBezTo>
                  <a:cubicBezTo>
                    <a:pt x="41110" y="54675"/>
                    <a:pt x="77735" y="30756"/>
                    <a:pt x="116602" y="11323"/>
                  </a:cubicBezTo>
                  <a:cubicBezTo>
                    <a:pt x="164439" y="-12222"/>
                    <a:pt x="207418" y="3848"/>
                    <a:pt x="247780" y="32999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88" name="Freeform: Shape 987">
              <a:extLst>
                <a:ext uri="{FF2B5EF4-FFF2-40B4-BE49-F238E27FC236}">
                  <a16:creationId xmlns:a16="http://schemas.microsoft.com/office/drawing/2014/main" id="{93B2312E-92C9-498E-87A8-8226C2CF8E59}"/>
                </a:ext>
              </a:extLst>
            </p:cNvPr>
            <p:cNvSpPr/>
            <p:nvPr/>
          </p:nvSpPr>
          <p:spPr>
            <a:xfrm>
              <a:off x="5005225" y="2193355"/>
              <a:ext cx="162288" cy="334719"/>
            </a:xfrm>
            <a:custGeom>
              <a:avLst/>
              <a:gdLst>
                <a:gd name="connsiteX0" fmla="*/ 15058 w 119592"/>
                <a:gd name="connsiteY0" fmla="*/ 0 h 246658"/>
                <a:gd name="connsiteX1" fmla="*/ 114843 w 119592"/>
                <a:gd name="connsiteY1" fmla="*/ 132673 h 246658"/>
                <a:gd name="connsiteX2" fmla="*/ 100641 w 119592"/>
                <a:gd name="connsiteY2" fmla="*/ 238811 h 246658"/>
                <a:gd name="connsiteX3" fmla="*/ 40098 w 119592"/>
                <a:gd name="connsiteY3" fmla="*/ 74371 h 246658"/>
                <a:gd name="connsiteX4" fmla="*/ 34866 w 119592"/>
                <a:gd name="connsiteY4" fmla="*/ 75866 h 246658"/>
                <a:gd name="connsiteX5" fmla="*/ 74854 w 119592"/>
                <a:gd name="connsiteY5" fmla="*/ 247033 h 246658"/>
                <a:gd name="connsiteX6" fmla="*/ 5341 w 119592"/>
                <a:gd name="connsiteY6" fmla="*/ 168177 h 246658"/>
                <a:gd name="connsiteX7" fmla="*/ 15058 w 119592"/>
                <a:gd name="connsiteY7" fmla="*/ 0 h 246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9592" h="246658">
                  <a:moveTo>
                    <a:pt x="15058" y="0"/>
                  </a:moveTo>
                  <a:cubicBezTo>
                    <a:pt x="55421" y="42231"/>
                    <a:pt x="94662" y="80725"/>
                    <a:pt x="114843" y="132673"/>
                  </a:cubicBezTo>
                  <a:cubicBezTo>
                    <a:pt x="129418" y="169671"/>
                    <a:pt x="117459" y="204802"/>
                    <a:pt x="100641" y="238811"/>
                  </a:cubicBezTo>
                  <a:cubicBezTo>
                    <a:pt x="80086" y="183499"/>
                    <a:pt x="60279" y="128935"/>
                    <a:pt x="40098" y="74371"/>
                  </a:cubicBezTo>
                  <a:cubicBezTo>
                    <a:pt x="38229" y="74745"/>
                    <a:pt x="36734" y="75493"/>
                    <a:pt x="34866" y="75866"/>
                  </a:cubicBezTo>
                  <a:cubicBezTo>
                    <a:pt x="47946" y="132299"/>
                    <a:pt x="61400" y="189105"/>
                    <a:pt x="74854" y="247033"/>
                  </a:cubicBezTo>
                  <a:cubicBezTo>
                    <a:pt x="43461" y="227973"/>
                    <a:pt x="14311" y="206297"/>
                    <a:pt x="5341" y="168177"/>
                  </a:cubicBezTo>
                  <a:cubicBezTo>
                    <a:pt x="-7365" y="112491"/>
                    <a:pt x="5341" y="57927"/>
                    <a:pt x="15058" y="0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89" name="Freeform: Shape 988">
              <a:extLst>
                <a:ext uri="{FF2B5EF4-FFF2-40B4-BE49-F238E27FC236}">
                  <a16:creationId xmlns:a16="http://schemas.microsoft.com/office/drawing/2014/main" id="{CF97BAB0-97D5-4441-9FF6-B4205EE3D3C7}"/>
                </a:ext>
              </a:extLst>
            </p:cNvPr>
            <p:cNvSpPr/>
            <p:nvPr/>
          </p:nvSpPr>
          <p:spPr>
            <a:xfrm>
              <a:off x="4650650" y="3921083"/>
              <a:ext cx="304290" cy="339791"/>
            </a:xfrm>
            <a:custGeom>
              <a:avLst/>
              <a:gdLst>
                <a:gd name="connsiteX0" fmla="*/ 223279 w 224235"/>
                <a:gd name="connsiteY0" fmla="*/ 252364 h 250396"/>
                <a:gd name="connsiteX1" fmla="*/ 73789 w 224235"/>
                <a:gd name="connsiteY1" fmla="*/ 131277 h 250396"/>
                <a:gd name="connsiteX2" fmla="*/ 16983 w 224235"/>
                <a:gd name="connsiteY2" fmla="*/ 66249 h 250396"/>
                <a:gd name="connsiteX3" fmla="*/ 165 w 224235"/>
                <a:gd name="connsiteY3" fmla="*/ 13927 h 250396"/>
                <a:gd name="connsiteX4" fmla="*/ 11003 w 224235"/>
                <a:gd name="connsiteY4" fmla="*/ 1595 h 250396"/>
                <a:gd name="connsiteX5" fmla="*/ 62951 w 224235"/>
                <a:gd name="connsiteY5" fmla="*/ 19160 h 250396"/>
                <a:gd name="connsiteX6" fmla="*/ 188149 w 224235"/>
                <a:gd name="connsiteY6" fmla="*/ 176124 h 250396"/>
                <a:gd name="connsiteX7" fmla="*/ 227016 w 224235"/>
                <a:gd name="connsiteY7" fmla="*/ 249001 h 250396"/>
                <a:gd name="connsiteX8" fmla="*/ 223279 w 224235"/>
                <a:gd name="connsiteY8" fmla="*/ 252364 h 250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235" h="250396">
                  <a:moveTo>
                    <a:pt x="223279" y="252364"/>
                  </a:moveTo>
                  <a:cubicBezTo>
                    <a:pt x="173947" y="211628"/>
                    <a:pt x="114899" y="182851"/>
                    <a:pt x="73789" y="131277"/>
                  </a:cubicBezTo>
                  <a:cubicBezTo>
                    <a:pt x="55850" y="108854"/>
                    <a:pt x="36043" y="87925"/>
                    <a:pt x="16983" y="66249"/>
                  </a:cubicBezTo>
                  <a:cubicBezTo>
                    <a:pt x="3528" y="51300"/>
                    <a:pt x="-956" y="33361"/>
                    <a:pt x="165" y="13927"/>
                  </a:cubicBezTo>
                  <a:cubicBezTo>
                    <a:pt x="539" y="9443"/>
                    <a:pt x="6518" y="2342"/>
                    <a:pt x="11003" y="1595"/>
                  </a:cubicBezTo>
                  <a:cubicBezTo>
                    <a:pt x="31558" y="-3264"/>
                    <a:pt x="49870" y="3089"/>
                    <a:pt x="62951" y="19160"/>
                  </a:cubicBezTo>
                  <a:cubicBezTo>
                    <a:pt x="105182" y="71108"/>
                    <a:pt x="148160" y="122682"/>
                    <a:pt x="188149" y="176124"/>
                  </a:cubicBezTo>
                  <a:cubicBezTo>
                    <a:pt x="204593" y="197800"/>
                    <a:pt x="214310" y="224709"/>
                    <a:pt x="227016" y="249001"/>
                  </a:cubicBezTo>
                  <a:cubicBezTo>
                    <a:pt x="225521" y="250122"/>
                    <a:pt x="224400" y="251243"/>
                    <a:pt x="223279" y="252364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90" name="Freeform: Shape 989">
              <a:extLst>
                <a:ext uri="{FF2B5EF4-FFF2-40B4-BE49-F238E27FC236}">
                  <a16:creationId xmlns:a16="http://schemas.microsoft.com/office/drawing/2014/main" id="{1E58C230-E8F3-47B8-B332-91125B97B1E6}"/>
                </a:ext>
              </a:extLst>
            </p:cNvPr>
            <p:cNvSpPr/>
            <p:nvPr/>
          </p:nvSpPr>
          <p:spPr>
            <a:xfrm>
              <a:off x="7281465" y="3920851"/>
              <a:ext cx="309363" cy="339791"/>
            </a:xfrm>
            <a:custGeom>
              <a:avLst/>
              <a:gdLst>
                <a:gd name="connsiteX0" fmla="*/ 0 w 227972"/>
                <a:gd name="connsiteY0" fmla="*/ 249170 h 250396"/>
                <a:gd name="connsiteX1" fmla="*/ 41110 w 227972"/>
                <a:gd name="connsiteY1" fmla="*/ 174052 h 250396"/>
                <a:gd name="connsiteX2" fmla="*/ 161449 w 227972"/>
                <a:gd name="connsiteY2" fmla="*/ 22319 h 250396"/>
                <a:gd name="connsiteX3" fmla="*/ 215266 w 227972"/>
                <a:gd name="connsiteY3" fmla="*/ 643 h 250396"/>
                <a:gd name="connsiteX4" fmla="*/ 227973 w 227972"/>
                <a:gd name="connsiteY4" fmla="*/ 15218 h 250396"/>
                <a:gd name="connsiteX5" fmla="*/ 209660 w 227972"/>
                <a:gd name="connsiteY5" fmla="*/ 67166 h 250396"/>
                <a:gd name="connsiteX6" fmla="*/ 129683 w 227972"/>
                <a:gd name="connsiteY6" fmla="*/ 157234 h 250396"/>
                <a:gd name="connsiteX7" fmla="*/ 91563 w 227972"/>
                <a:gd name="connsiteY7" fmla="*/ 187879 h 250396"/>
                <a:gd name="connsiteX8" fmla="*/ 3737 w 227972"/>
                <a:gd name="connsiteY8" fmla="*/ 251413 h 250396"/>
                <a:gd name="connsiteX9" fmla="*/ 0 w 227972"/>
                <a:gd name="connsiteY9" fmla="*/ 249170 h 250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7972" h="250396">
                  <a:moveTo>
                    <a:pt x="0" y="249170"/>
                  </a:moveTo>
                  <a:cubicBezTo>
                    <a:pt x="13454" y="224131"/>
                    <a:pt x="24292" y="196849"/>
                    <a:pt x="41110" y="174052"/>
                  </a:cubicBezTo>
                  <a:cubicBezTo>
                    <a:pt x="79604" y="122477"/>
                    <a:pt x="121087" y="72772"/>
                    <a:pt x="161449" y="22319"/>
                  </a:cubicBezTo>
                  <a:cubicBezTo>
                    <a:pt x="175277" y="5128"/>
                    <a:pt x="193216" y="-2347"/>
                    <a:pt x="215266" y="643"/>
                  </a:cubicBezTo>
                  <a:cubicBezTo>
                    <a:pt x="224235" y="1764"/>
                    <a:pt x="228346" y="5875"/>
                    <a:pt x="227973" y="15218"/>
                  </a:cubicBezTo>
                  <a:cubicBezTo>
                    <a:pt x="227225" y="34652"/>
                    <a:pt x="223114" y="52217"/>
                    <a:pt x="209660" y="67166"/>
                  </a:cubicBezTo>
                  <a:cubicBezTo>
                    <a:pt x="182752" y="97064"/>
                    <a:pt x="156965" y="128083"/>
                    <a:pt x="129683" y="157234"/>
                  </a:cubicBezTo>
                  <a:cubicBezTo>
                    <a:pt x="118471" y="169193"/>
                    <a:pt x="104643" y="178163"/>
                    <a:pt x="91563" y="187879"/>
                  </a:cubicBezTo>
                  <a:cubicBezTo>
                    <a:pt x="62412" y="209182"/>
                    <a:pt x="32888" y="230484"/>
                    <a:pt x="3737" y="251413"/>
                  </a:cubicBezTo>
                  <a:cubicBezTo>
                    <a:pt x="2242" y="251039"/>
                    <a:pt x="1121" y="249918"/>
                    <a:pt x="0" y="249170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91" name="Freeform: Shape 990">
              <a:extLst>
                <a:ext uri="{FF2B5EF4-FFF2-40B4-BE49-F238E27FC236}">
                  <a16:creationId xmlns:a16="http://schemas.microsoft.com/office/drawing/2014/main" id="{599762FE-8525-48D1-B6D8-820F111D4A3A}"/>
                </a:ext>
              </a:extLst>
            </p:cNvPr>
            <p:cNvSpPr/>
            <p:nvPr/>
          </p:nvSpPr>
          <p:spPr>
            <a:xfrm>
              <a:off x="6982303" y="2248916"/>
              <a:ext cx="157217" cy="273862"/>
            </a:xfrm>
            <a:custGeom>
              <a:avLst/>
              <a:gdLst>
                <a:gd name="connsiteX0" fmla="*/ 100116 w 115854"/>
                <a:gd name="connsiteY0" fmla="*/ 166 h 201811"/>
                <a:gd name="connsiteX1" fmla="*/ 116186 w 115854"/>
                <a:gd name="connsiteY1" fmla="*/ 114526 h 201811"/>
                <a:gd name="connsiteX2" fmla="*/ 48916 w 115854"/>
                <a:gd name="connsiteY2" fmla="*/ 202725 h 201811"/>
                <a:gd name="connsiteX3" fmla="*/ 79935 w 115854"/>
                <a:gd name="connsiteY3" fmla="*/ 61831 h 201811"/>
                <a:gd name="connsiteX4" fmla="*/ 74703 w 115854"/>
                <a:gd name="connsiteY4" fmla="*/ 60336 h 201811"/>
                <a:gd name="connsiteX5" fmla="*/ 23502 w 115854"/>
                <a:gd name="connsiteY5" fmla="*/ 194130 h 201811"/>
                <a:gd name="connsiteX6" fmla="*/ 10422 w 115854"/>
                <a:gd name="connsiteY6" fmla="*/ 91729 h 201811"/>
                <a:gd name="connsiteX7" fmla="*/ 94136 w 115854"/>
                <a:gd name="connsiteY7" fmla="*/ 166 h 201811"/>
                <a:gd name="connsiteX8" fmla="*/ 100116 w 115854"/>
                <a:gd name="connsiteY8" fmla="*/ 166 h 201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5854" h="201811">
                  <a:moveTo>
                    <a:pt x="100116" y="166"/>
                  </a:moveTo>
                  <a:cubicBezTo>
                    <a:pt x="105722" y="38286"/>
                    <a:pt x="113570" y="76032"/>
                    <a:pt x="116186" y="114526"/>
                  </a:cubicBezTo>
                  <a:cubicBezTo>
                    <a:pt x="118802" y="156010"/>
                    <a:pt x="92268" y="187029"/>
                    <a:pt x="48916" y="202725"/>
                  </a:cubicBezTo>
                  <a:cubicBezTo>
                    <a:pt x="59380" y="156010"/>
                    <a:pt x="69470" y="108920"/>
                    <a:pt x="79935" y="61831"/>
                  </a:cubicBezTo>
                  <a:cubicBezTo>
                    <a:pt x="78066" y="61457"/>
                    <a:pt x="76571" y="60710"/>
                    <a:pt x="74703" y="60336"/>
                  </a:cubicBezTo>
                  <a:cubicBezTo>
                    <a:pt x="57511" y="105183"/>
                    <a:pt x="40320" y="150030"/>
                    <a:pt x="23502" y="194130"/>
                  </a:cubicBezTo>
                  <a:cubicBezTo>
                    <a:pt x="-1164" y="169464"/>
                    <a:pt x="-7891" y="122748"/>
                    <a:pt x="10422" y="91729"/>
                  </a:cubicBezTo>
                  <a:cubicBezTo>
                    <a:pt x="31724" y="55477"/>
                    <a:pt x="62743" y="27448"/>
                    <a:pt x="94136" y="166"/>
                  </a:cubicBezTo>
                  <a:cubicBezTo>
                    <a:pt x="96005" y="-208"/>
                    <a:pt x="98247" y="166"/>
                    <a:pt x="100116" y="166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3BE9788D-AA0B-486D-9400-89D3678B5F02}"/>
                </a:ext>
              </a:extLst>
            </p:cNvPr>
            <p:cNvSpPr/>
            <p:nvPr/>
          </p:nvSpPr>
          <p:spPr>
            <a:xfrm>
              <a:off x="6874223" y="4048353"/>
              <a:ext cx="136930" cy="324576"/>
            </a:xfrm>
            <a:custGeom>
              <a:avLst/>
              <a:gdLst>
                <a:gd name="connsiteX0" fmla="*/ 0 w 100905"/>
                <a:gd name="connsiteY0" fmla="*/ 242291 h 239184"/>
                <a:gd name="connsiteX1" fmla="*/ 30272 w 100905"/>
                <a:gd name="connsiteY1" fmla="*/ 126436 h 239184"/>
                <a:gd name="connsiteX2" fmla="*/ 59422 w 100905"/>
                <a:gd name="connsiteY2" fmla="*/ 17308 h 239184"/>
                <a:gd name="connsiteX3" fmla="*/ 75119 w 100905"/>
                <a:gd name="connsiteY3" fmla="*/ 490 h 239184"/>
                <a:gd name="connsiteX4" fmla="*/ 96048 w 100905"/>
                <a:gd name="connsiteY4" fmla="*/ 7217 h 239184"/>
                <a:gd name="connsiteX5" fmla="*/ 100906 w 100905"/>
                <a:gd name="connsiteY5" fmla="*/ 25904 h 239184"/>
                <a:gd name="connsiteX6" fmla="*/ 67644 w 100905"/>
                <a:gd name="connsiteY6" fmla="*/ 231453 h 239184"/>
                <a:gd name="connsiteX7" fmla="*/ 59049 w 100905"/>
                <a:gd name="connsiteY7" fmla="*/ 241917 h 239184"/>
                <a:gd name="connsiteX8" fmla="*/ 0 w 100905"/>
                <a:gd name="connsiteY8" fmla="*/ 242291 h 239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0905" h="239184">
                  <a:moveTo>
                    <a:pt x="0" y="242291"/>
                  </a:moveTo>
                  <a:cubicBezTo>
                    <a:pt x="10091" y="203797"/>
                    <a:pt x="20181" y="165303"/>
                    <a:pt x="30272" y="126436"/>
                  </a:cubicBezTo>
                  <a:cubicBezTo>
                    <a:pt x="39615" y="90184"/>
                    <a:pt x="48958" y="53559"/>
                    <a:pt x="59422" y="17308"/>
                  </a:cubicBezTo>
                  <a:cubicBezTo>
                    <a:pt x="61291" y="10581"/>
                    <a:pt x="68765" y="2359"/>
                    <a:pt x="75119" y="490"/>
                  </a:cubicBezTo>
                  <a:cubicBezTo>
                    <a:pt x="81098" y="-1378"/>
                    <a:pt x="90815" y="2359"/>
                    <a:pt x="96048" y="7217"/>
                  </a:cubicBezTo>
                  <a:cubicBezTo>
                    <a:pt x="100158" y="10955"/>
                    <a:pt x="102027" y="19924"/>
                    <a:pt x="100906" y="25904"/>
                  </a:cubicBezTo>
                  <a:cubicBezTo>
                    <a:pt x="90442" y="94295"/>
                    <a:pt x="79230" y="163061"/>
                    <a:pt x="67644" y="231453"/>
                  </a:cubicBezTo>
                  <a:cubicBezTo>
                    <a:pt x="66897" y="235564"/>
                    <a:pt x="62038" y="241917"/>
                    <a:pt x="59049" y="241917"/>
                  </a:cubicBezTo>
                  <a:cubicBezTo>
                    <a:pt x="39989" y="242665"/>
                    <a:pt x="20555" y="242291"/>
                    <a:pt x="0" y="242291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C1A7178A-B0A7-40C7-AE66-CD1BF1BEC83E}"/>
                </a:ext>
              </a:extLst>
            </p:cNvPr>
            <p:cNvSpPr/>
            <p:nvPr/>
          </p:nvSpPr>
          <p:spPr>
            <a:xfrm>
              <a:off x="5228062" y="4046849"/>
              <a:ext cx="136930" cy="329649"/>
            </a:xfrm>
            <a:custGeom>
              <a:avLst/>
              <a:gdLst>
                <a:gd name="connsiteX0" fmla="*/ 101616 w 100905"/>
                <a:gd name="connsiteY0" fmla="*/ 243399 h 242921"/>
                <a:gd name="connsiteX1" fmla="*/ 42568 w 100905"/>
                <a:gd name="connsiteY1" fmla="*/ 243026 h 242921"/>
                <a:gd name="connsiteX2" fmla="*/ 34346 w 100905"/>
                <a:gd name="connsiteY2" fmla="*/ 233683 h 242921"/>
                <a:gd name="connsiteX3" fmla="*/ 337 w 100905"/>
                <a:gd name="connsiteY3" fmla="*/ 25517 h 242921"/>
                <a:gd name="connsiteX4" fmla="*/ 16407 w 100905"/>
                <a:gd name="connsiteY4" fmla="*/ 852 h 242921"/>
                <a:gd name="connsiteX5" fmla="*/ 42568 w 100905"/>
                <a:gd name="connsiteY5" fmla="*/ 18790 h 242921"/>
                <a:gd name="connsiteX6" fmla="*/ 83304 w 100905"/>
                <a:gd name="connsiteY6" fmla="*/ 173886 h 242921"/>
                <a:gd name="connsiteX7" fmla="*/ 101616 w 100905"/>
                <a:gd name="connsiteY7" fmla="*/ 243399 h 2429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905" h="242921">
                  <a:moveTo>
                    <a:pt x="101616" y="243399"/>
                  </a:moveTo>
                  <a:cubicBezTo>
                    <a:pt x="81062" y="243399"/>
                    <a:pt x="62002" y="243773"/>
                    <a:pt x="42568" y="243026"/>
                  </a:cubicBezTo>
                  <a:cubicBezTo>
                    <a:pt x="39578" y="243026"/>
                    <a:pt x="34720" y="237420"/>
                    <a:pt x="34346" y="233683"/>
                  </a:cubicBezTo>
                  <a:cubicBezTo>
                    <a:pt x="22760" y="164170"/>
                    <a:pt x="11549" y="94657"/>
                    <a:pt x="337" y="25517"/>
                  </a:cubicBezTo>
                  <a:cubicBezTo>
                    <a:pt x="-1532" y="12811"/>
                    <a:pt x="4448" y="4215"/>
                    <a:pt x="16407" y="852"/>
                  </a:cubicBezTo>
                  <a:cubicBezTo>
                    <a:pt x="28366" y="-2512"/>
                    <a:pt x="38831" y="4215"/>
                    <a:pt x="42568" y="18790"/>
                  </a:cubicBezTo>
                  <a:cubicBezTo>
                    <a:pt x="56396" y="70364"/>
                    <a:pt x="69850" y="122312"/>
                    <a:pt x="83304" y="173886"/>
                  </a:cubicBezTo>
                  <a:cubicBezTo>
                    <a:pt x="89657" y="197058"/>
                    <a:pt x="95637" y="220228"/>
                    <a:pt x="101616" y="243399"/>
                  </a:cubicBezTo>
                  <a:close/>
                </a:path>
              </a:pathLst>
            </a:custGeom>
            <a:grpFill/>
            <a:ln w="37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215"/>
            </a:p>
          </p:txBody>
        </p:sp>
      </p:grpSp>
      <p:grpSp>
        <p:nvGrpSpPr>
          <p:cNvPr id="994" name="Group 993">
            <a:extLst>
              <a:ext uri="{FF2B5EF4-FFF2-40B4-BE49-F238E27FC236}">
                <a16:creationId xmlns:a16="http://schemas.microsoft.com/office/drawing/2014/main" id="{69594A79-F2A6-4884-9516-B0E20B3D17F6}"/>
              </a:ext>
            </a:extLst>
          </p:cNvPr>
          <p:cNvGrpSpPr/>
          <p:nvPr/>
        </p:nvGrpSpPr>
        <p:grpSpPr>
          <a:xfrm>
            <a:off x="171656" y="3110351"/>
            <a:ext cx="2730123" cy="1176532"/>
            <a:chOff x="5651002" y="3570385"/>
            <a:chExt cx="3541140" cy="1743012"/>
          </a:xfrm>
        </p:grpSpPr>
        <p:sp>
          <p:nvSpPr>
            <p:cNvPr id="995" name="TextBox 994">
              <a:extLst>
                <a:ext uri="{FF2B5EF4-FFF2-40B4-BE49-F238E27FC236}">
                  <a16:creationId xmlns:a16="http://schemas.microsoft.com/office/drawing/2014/main" id="{83B7AD55-4A06-4E3C-ACE9-4FAC340C35F1}"/>
                </a:ext>
              </a:extLst>
            </p:cNvPr>
            <p:cNvSpPr txBox="1"/>
            <p:nvPr/>
          </p:nvSpPr>
          <p:spPr>
            <a:xfrm>
              <a:off x="5679349" y="3570385"/>
              <a:ext cx="3512793" cy="61555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cs-CZ" altLang="ko-KR" sz="1050" dirty="0">
                  <a:solidFill>
                    <a:schemeClr val="accent1">
                      <a:lumMod val="75000"/>
                    </a:schemeClr>
                  </a:solidFill>
                  <a:latin typeface="Gotham Rounded Book" pitchFamily="50" charset="-18"/>
                  <a:cs typeface="Arial" pitchFamily="34" charset="0"/>
                </a:rPr>
                <a:t>IoT = nástroj pro ekonomickou efektivitu</a:t>
              </a:r>
              <a:endParaRPr lang="ko-KR" altLang="en-US" sz="1050" dirty="0">
                <a:solidFill>
                  <a:schemeClr val="accent1">
                    <a:lumMod val="75000"/>
                  </a:schemeClr>
                </a:solidFill>
                <a:latin typeface="Gotham Rounded Book" pitchFamily="50" charset="-18"/>
                <a:cs typeface="Arial" pitchFamily="34" charset="0"/>
              </a:endParaRPr>
            </a:p>
          </p:txBody>
        </p:sp>
        <p:sp>
          <p:nvSpPr>
            <p:cNvPr id="996" name="TextBox 995">
              <a:extLst>
                <a:ext uri="{FF2B5EF4-FFF2-40B4-BE49-F238E27FC236}">
                  <a16:creationId xmlns:a16="http://schemas.microsoft.com/office/drawing/2014/main" id="{2B765091-9A22-4A16-93C8-F1065026E1E0}"/>
                </a:ext>
              </a:extLst>
            </p:cNvPr>
            <p:cNvSpPr txBox="1"/>
            <p:nvPr/>
          </p:nvSpPr>
          <p:spPr>
            <a:xfrm>
              <a:off x="5651002" y="4219079"/>
              <a:ext cx="3287671" cy="10943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altLang="ko-KR" sz="105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Gotham Rounded Book" pitchFamily="50" charset="-18"/>
                  <a:cs typeface="Arial" pitchFamily="34" charset="0"/>
                </a:rPr>
                <a:t>Přímé náklady na </a:t>
              </a:r>
              <a:r>
                <a:rPr lang="cs-CZ" altLang="ko-KR" sz="1050" dirty="0" smtClean="0">
                  <a:solidFill>
                    <a:schemeClr val="tx2">
                      <a:lumMod val="60000"/>
                      <a:lumOff val="40000"/>
                    </a:schemeClr>
                  </a:solidFill>
                  <a:latin typeface="Gotham Rounded Book" pitchFamily="50" charset="-18"/>
                  <a:cs typeface="Arial" pitchFamily="34" charset="0"/>
                </a:rPr>
                <a:t>provoz</a:t>
              </a:r>
              <a:endParaRPr lang="cs-CZ" altLang="ko-KR" sz="1050" dirty="0">
                <a:solidFill>
                  <a:schemeClr val="tx2">
                    <a:lumMod val="60000"/>
                    <a:lumOff val="40000"/>
                  </a:schemeClr>
                </a:solidFill>
                <a:latin typeface="Gotham Rounded Book" pitchFamily="50" charset="-18"/>
                <a:cs typeface="Arial" pitchFamily="34" charset="0"/>
              </a:endParaRPr>
            </a:p>
            <a:p>
              <a:endParaRPr lang="cs-CZ" altLang="ko-KR" sz="1050" dirty="0">
                <a:solidFill>
                  <a:schemeClr val="tx2">
                    <a:lumMod val="60000"/>
                    <a:lumOff val="40000"/>
                  </a:schemeClr>
                </a:solidFill>
                <a:latin typeface="Gotham Rounded Book" pitchFamily="50" charset="-18"/>
                <a:cs typeface="Arial" pitchFamily="34" charset="0"/>
              </a:endParaRPr>
            </a:p>
            <a:p>
              <a:r>
                <a:rPr lang="cs-CZ" altLang="ko-KR" sz="105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Gotham Rounded Book" pitchFamily="50" charset="-18"/>
                  <a:cs typeface="Arial" pitchFamily="34" charset="0"/>
                </a:rPr>
                <a:t>Rozvoj obchodních příležitostí (</a:t>
              </a:r>
              <a:r>
                <a:rPr lang="cs-CZ" altLang="ko-KR" sz="1050" dirty="0" err="1">
                  <a:solidFill>
                    <a:schemeClr val="tx2">
                      <a:lumMod val="60000"/>
                      <a:lumOff val="40000"/>
                    </a:schemeClr>
                  </a:solidFill>
                  <a:latin typeface="Gotham Rounded Book" pitchFamily="50" charset="-18"/>
                  <a:cs typeface="Arial" pitchFamily="34" charset="0"/>
                </a:rPr>
                <a:t>after-sale</a:t>
              </a:r>
              <a:r>
                <a:rPr lang="cs-CZ" altLang="ko-KR" sz="810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Gotham Rounded Book" pitchFamily="50" charset="-18"/>
                  <a:cs typeface="Arial" pitchFamily="34" charset="0"/>
                </a:rPr>
                <a:t>)</a:t>
              </a:r>
              <a:endParaRPr lang="ko-KR" altLang="en-US" sz="810" dirty="0">
                <a:solidFill>
                  <a:schemeClr val="tx2">
                    <a:lumMod val="60000"/>
                    <a:lumOff val="40000"/>
                  </a:schemeClr>
                </a:solidFill>
                <a:latin typeface="Gotham Rounded Book" pitchFamily="50" charset="-18"/>
                <a:cs typeface="Arial" pitchFamily="34" charset="0"/>
              </a:endParaRPr>
            </a:p>
          </p:txBody>
        </p:sp>
      </p:grpSp>
      <p:sp>
        <p:nvSpPr>
          <p:cNvPr id="1000" name="TextBox 999">
            <a:extLst>
              <a:ext uri="{FF2B5EF4-FFF2-40B4-BE49-F238E27FC236}">
                <a16:creationId xmlns:a16="http://schemas.microsoft.com/office/drawing/2014/main" id="{87DCFAC5-3428-4C78-B8DD-48FF463B3591}"/>
              </a:ext>
            </a:extLst>
          </p:cNvPr>
          <p:cNvSpPr txBox="1"/>
          <p:nvPr/>
        </p:nvSpPr>
        <p:spPr>
          <a:xfrm>
            <a:off x="145720" y="2734881"/>
            <a:ext cx="2770096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cs-CZ" altLang="ko-KR" sz="16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Gotham Rounded Book" pitchFamily="50" charset="-18"/>
                <a:cs typeface="Arial" pitchFamily="34" charset="0"/>
              </a:rPr>
              <a:t>A - Finanční úspora</a:t>
            </a:r>
            <a:endParaRPr lang="ko-KR" altLang="en-US" sz="1600" b="1" dirty="0">
              <a:solidFill>
                <a:schemeClr val="tx2">
                  <a:lumMod val="60000"/>
                  <a:lumOff val="40000"/>
                </a:schemeClr>
              </a:solidFill>
              <a:latin typeface="Gotham Rounded Book" pitchFamily="50" charset="-18"/>
              <a:cs typeface="Arial" pitchFamily="34" charset="0"/>
            </a:endParaRPr>
          </a:p>
        </p:txBody>
      </p:sp>
      <p:grpSp>
        <p:nvGrpSpPr>
          <p:cNvPr id="1001" name="Group 1000">
            <a:extLst>
              <a:ext uri="{FF2B5EF4-FFF2-40B4-BE49-F238E27FC236}">
                <a16:creationId xmlns:a16="http://schemas.microsoft.com/office/drawing/2014/main" id="{C1E7DB31-738D-4DB6-8EDA-4A3DF526A4C7}"/>
              </a:ext>
            </a:extLst>
          </p:cNvPr>
          <p:cNvGrpSpPr/>
          <p:nvPr/>
        </p:nvGrpSpPr>
        <p:grpSpPr>
          <a:xfrm>
            <a:off x="5787391" y="1480482"/>
            <a:ext cx="3147435" cy="747673"/>
            <a:chOff x="11364" y="1989254"/>
            <a:chExt cx="3382486" cy="1107662"/>
          </a:xfrm>
        </p:grpSpPr>
        <p:sp>
          <p:nvSpPr>
            <p:cNvPr id="1002" name="TextBox 1001">
              <a:extLst>
                <a:ext uri="{FF2B5EF4-FFF2-40B4-BE49-F238E27FC236}">
                  <a16:creationId xmlns:a16="http://schemas.microsoft.com/office/drawing/2014/main" id="{A61581BE-2AFE-4216-B937-26DA2B88E874}"/>
                </a:ext>
              </a:extLst>
            </p:cNvPr>
            <p:cNvSpPr txBox="1"/>
            <p:nvPr/>
          </p:nvSpPr>
          <p:spPr>
            <a:xfrm>
              <a:off x="11364" y="1989254"/>
              <a:ext cx="3271560" cy="61555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/>
              <a:r>
                <a:rPr lang="cs-CZ" altLang="ko-KR" sz="105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Gotham Rounded Book" pitchFamily="50" charset="-18"/>
                  <a:cs typeface="Arial" pitchFamily="34" charset="0"/>
                </a:rPr>
                <a:t>IoT = zjednodušení legislativních povinností</a:t>
              </a:r>
              <a:endParaRPr lang="ko-KR" altLang="en-US" sz="1050" dirty="0">
                <a:solidFill>
                  <a:schemeClr val="accent1">
                    <a:lumMod val="40000"/>
                    <a:lumOff val="60000"/>
                  </a:schemeClr>
                </a:solidFill>
                <a:latin typeface="Gotham Rounded Book" pitchFamily="50" charset="-18"/>
                <a:cs typeface="Arial" pitchFamily="34" charset="0"/>
              </a:endParaRPr>
            </a:p>
          </p:txBody>
        </p:sp>
        <p:sp>
          <p:nvSpPr>
            <p:cNvPr id="1003" name="TextBox 1002">
              <a:extLst>
                <a:ext uri="{FF2B5EF4-FFF2-40B4-BE49-F238E27FC236}">
                  <a16:creationId xmlns:a16="http://schemas.microsoft.com/office/drawing/2014/main" id="{0164F15E-A737-4432-83C0-9537B80DDBF9}"/>
                </a:ext>
              </a:extLst>
            </p:cNvPr>
            <p:cNvSpPr txBox="1"/>
            <p:nvPr/>
          </p:nvSpPr>
          <p:spPr>
            <a:xfrm>
              <a:off x="20762" y="2720745"/>
              <a:ext cx="3373088" cy="3761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cs-CZ" altLang="ko-KR" sz="81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Gotham Rounded Book" pitchFamily="50" charset="-18"/>
                  <a:cs typeface="Arial" pitchFamily="34" charset="0"/>
                </a:rPr>
                <a:t> </a:t>
              </a:r>
              <a:r>
                <a:rPr lang="cs-CZ" altLang="ko-KR" sz="105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Gotham Rounded Book" pitchFamily="50" charset="-18"/>
                  <a:cs typeface="Arial" pitchFamily="34" charset="0"/>
                </a:rPr>
                <a:t>Metodika: HACCP, SÚKL, Odečty energií</a:t>
              </a:r>
              <a:r>
                <a:rPr lang="en-US" altLang="ko-KR" sz="1050" dirty="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Gotham Rounded Book" pitchFamily="50" charset="-18"/>
                  <a:cs typeface="Arial" pitchFamily="34" charset="0"/>
                </a:rPr>
                <a:t> </a:t>
              </a:r>
              <a:endParaRPr lang="ko-KR" altLang="en-US" sz="1050" dirty="0">
                <a:solidFill>
                  <a:schemeClr val="accent1">
                    <a:lumMod val="40000"/>
                    <a:lumOff val="60000"/>
                  </a:schemeClr>
                </a:solidFill>
                <a:latin typeface="Gotham Rounded Book" pitchFamily="50" charset="-18"/>
                <a:cs typeface="Arial" pitchFamily="34" charset="0"/>
              </a:endParaRPr>
            </a:p>
          </p:txBody>
        </p:sp>
      </p:grpSp>
      <p:sp>
        <p:nvSpPr>
          <p:cNvPr id="1007" name="TextBox 1006">
            <a:extLst>
              <a:ext uri="{FF2B5EF4-FFF2-40B4-BE49-F238E27FC236}">
                <a16:creationId xmlns:a16="http://schemas.microsoft.com/office/drawing/2014/main" id="{965BDDEF-4C7F-470D-B602-95E885AF9F84}"/>
              </a:ext>
            </a:extLst>
          </p:cNvPr>
          <p:cNvSpPr txBox="1"/>
          <p:nvPr/>
        </p:nvSpPr>
        <p:spPr>
          <a:xfrm>
            <a:off x="5336873" y="1187970"/>
            <a:ext cx="3597953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r>
              <a:rPr lang="cs-CZ" altLang="ko-KR" sz="1600" b="1" dirty="0">
                <a:solidFill>
                  <a:schemeClr val="accent1">
                    <a:lumMod val="40000"/>
                    <a:lumOff val="60000"/>
                  </a:schemeClr>
                </a:solidFill>
                <a:latin typeface="Gotham Rounded Book" pitchFamily="50" charset="-18"/>
                <a:cs typeface="Arial" pitchFamily="34" charset="0"/>
              </a:rPr>
              <a:t>B - Legislativní povinnost</a:t>
            </a:r>
            <a:endParaRPr lang="ko-KR" altLang="en-US" sz="1600" b="1" dirty="0">
              <a:solidFill>
                <a:schemeClr val="accent1">
                  <a:lumMod val="40000"/>
                  <a:lumOff val="60000"/>
                </a:schemeClr>
              </a:solidFill>
              <a:latin typeface="Gotham Rounded Book" pitchFamily="50" charset="-18"/>
              <a:cs typeface="Arial" pitchFamily="34" charset="0"/>
            </a:endParaRPr>
          </a:p>
        </p:txBody>
      </p:sp>
      <p:grpSp>
        <p:nvGrpSpPr>
          <p:cNvPr id="80" name="Group 996">
            <a:extLst>
              <a:ext uri="{FF2B5EF4-FFF2-40B4-BE49-F238E27FC236}">
                <a16:creationId xmlns:a16="http://schemas.microsoft.com/office/drawing/2014/main" id="{55045F2E-B01E-4083-9264-20A2B3B73874}"/>
              </a:ext>
            </a:extLst>
          </p:cNvPr>
          <p:cNvGrpSpPr/>
          <p:nvPr/>
        </p:nvGrpSpPr>
        <p:grpSpPr>
          <a:xfrm>
            <a:off x="5129775" y="3129682"/>
            <a:ext cx="3597623" cy="747897"/>
            <a:chOff x="5940152" y="4308316"/>
            <a:chExt cx="3024336" cy="1107996"/>
          </a:xfrm>
        </p:grpSpPr>
        <p:sp>
          <p:nvSpPr>
            <p:cNvPr id="81" name="TextBox 997">
              <a:extLst>
                <a:ext uri="{FF2B5EF4-FFF2-40B4-BE49-F238E27FC236}">
                  <a16:creationId xmlns:a16="http://schemas.microsoft.com/office/drawing/2014/main" id="{071AFA65-94A9-4C5F-AB91-C5E6AE2E352E}"/>
                </a:ext>
              </a:extLst>
            </p:cNvPr>
            <p:cNvSpPr txBox="1"/>
            <p:nvPr/>
          </p:nvSpPr>
          <p:spPr>
            <a:xfrm>
              <a:off x="5940152" y="4308316"/>
              <a:ext cx="3024336" cy="11079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r"/>
              <a:r>
                <a:rPr lang="cs-CZ" altLang="ko-KR" sz="2160" dirty="0">
                  <a:solidFill>
                    <a:srgbClr val="0070C0"/>
                  </a:solidFill>
                  <a:latin typeface="Gotham Rounded Book" pitchFamily="50" charset="-18"/>
                  <a:cs typeface="Arial" pitchFamily="34" charset="0"/>
                </a:rPr>
                <a:t>C – </a:t>
              </a:r>
              <a:r>
                <a:rPr lang="cs-CZ" altLang="ko-KR" sz="1600" dirty="0" smtClean="0">
                  <a:solidFill>
                    <a:srgbClr val="6DC0FF"/>
                  </a:solidFill>
                  <a:latin typeface="Gotham Rounded Book" pitchFamily="50" charset="-18"/>
                  <a:cs typeface="Arial" pitchFamily="34" charset="0"/>
                </a:rPr>
                <a:t>(</a:t>
              </a:r>
              <a:r>
                <a:rPr lang="cs-CZ" altLang="ko-KR" sz="1600" dirty="0">
                  <a:solidFill>
                    <a:srgbClr val="6DC0FF"/>
                  </a:solidFill>
                  <a:latin typeface="Gotham Rounded Book" pitchFamily="50" charset="-18"/>
                  <a:cs typeface="Arial" pitchFamily="34" charset="0"/>
                </a:rPr>
                <a:t>o</a:t>
              </a:r>
              <a:r>
                <a:rPr lang="cs-CZ" altLang="ko-KR" sz="1600" dirty="0" smtClean="0">
                  <a:solidFill>
                    <a:srgbClr val="6DC0FF"/>
                  </a:solidFill>
                  <a:latin typeface="Gotham Rounded Book" pitchFamily="50" charset="-18"/>
                  <a:cs typeface="Arial" pitchFamily="34" charset="0"/>
                </a:rPr>
                <a:t>becné)</a:t>
              </a:r>
              <a:r>
                <a:rPr lang="cs-CZ" altLang="ko-KR" sz="2160" dirty="0" smtClean="0">
                  <a:solidFill>
                    <a:srgbClr val="6DC0FF"/>
                  </a:solidFill>
                  <a:latin typeface="Gotham Rounded Book" pitchFamily="50" charset="-18"/>
                  <a:cs typeface="Arial" pitchFamily="34" charset="0"/>
                </a:rPr>
                <a:t> </a:t>
              </a:r>
              <a:r>
                <a:rPr lang="cs-CZ" altLang="ko-KR" sz="1600" b="1" dirty="0">
                  <a:solidFill>
                    <a:srgbClr val="0070C0"/>
                  </a:solidFill>
                  <a:latin typeface="Gotham Rounded Book" pitchFamily="50" charset="-18"/>
                  <a:cs typeface="Arial" pitchFamily="34" charset="0"/>
                </a:rPr>
                <a:t>blaho</a:t>
              </a:r>
            </a:p>
            <a:p>
              <a:pPr algn="r"/>
              <a:r>
                <a:rPr lang="cs-CZ" altLang="ko-KR" sz="1050" dirty="0">
                  <a:solidFill>
                    <a:srgbClr val="0070C0"/>
                  </a:solidFill>
                  <a:latin typeface="Gotham Rounded Book" pitchFamily="50" charset="-18"/>
                  <a:cs typeface="Arial" pitchFamily="34" charset="0"/>
                </a:rPr>
                <a:t>IoT = poskytuje data usnadňující každodenní </a:t>
              </a:r>
              <a:r>
                <a:rPr lang="cs-CZ" altLang="ko-KR" sz="1050" dirty="0" smtClean="0">
                  <a:solidFill>
                    <a:srgbClr val="0070C0"/>
                  </a:solidFill>
                  <a:latin typeface="Gotham Rounded Book" pitchFamily="50" charset="-18"/>
                  <a:cs typeface="Arial" pitchFamily="34" charset="0"/>
                </a:rPr>
                <a:t>činnosti</a:t>
              </a:r>
              <a:endParaRPr lang="ko-KR" altLang="en-US" sz="1050" dirty="0">
                <a:solidFill>
                  <a:srgbClr val="0070C0"/>
                </a:solidFill>
                <a:latin typeface="Gotham Rounded Book" pitchFamily="50" charset="-18"/>
                <a:cs typeface="Arial" pitchFamily="34" charset="0"/>
              </a:endParaRPr>
            </a:p>
          </p:txBody>
        </p:sp>
        <p:sp>
          <p:nvSpPr>
            <p:cNvPr id="82" name="TextBox 998">
              <a:extLst>
                <a:ext uri="{FF2B5EF4-FFF2-40B4-BE49-F238E27FC236}">
                  <a16:creationId xmlns:a16="http://schemas.microsoft.com/office/drawing/2014/main" id="{E4E87EBB-F518-4AFE-B963-862C26D6F70B}"/>
                </a:ext>
              </a:extLst>
            </p:cNvPr>
            <p:cNvSpPr txBox="1"/>
            <p:nvPr/>
          </p:nvSpPr>
          <p:spPr>
            <a:xfrm>
              <a:off x="5940152" y="4930787"/>
              <a:ext cx="3024336" cy="3214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ko-KR" altLang="en-US" sz="810" dirty="0">
                <a:solidFill>
                  <a:schemeClr val="tx1">
                    <a:lumMod val="75000"/>
                    <a:lumOff val="25000"/>
                  </a:schemeClr>
                </a:solidFill>
                <a:latin typeface="Gotham Rounded Book" pitchFamily="50" charset="-18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7393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813237B0-62B2-407E-84FA-87A6BCF023BB}"/>
              </a:ext>
            </a:extLst>
          </p:cNvPr>
          <p:cNvSpPr/>
          <p:nvPr/>
        </p:nvSpPr>
        <p:spPr>
          <a:xfrm>
            <a:off x="2075836" y="1152809"/>
            <a:ext cx="2340000" cy="1373636"/>
          </a:xfrm>
          <a:prstGeom prst="roundRect">
            <a:avLst>
              <a:gd name="adj" fmla="val 6792"/>
            </a:avLst>
          </a:prstGeom>
          <a:solidFill>
            <a:srgbClr val="686F71"/>
          </a:solidFill>
          <a:ln w="38100">
            <a:solidFill>
              <a:srgbClr val="CCCCCC"/>
            </a:solidFill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31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25684228-D19E-437C-A4BF-49C1022BF0A3}"/>
              </a:ext>
            </a:extLst>
          </p:cNvPr>
          <p:cNvSpPr/>
          <p:nvPr/>
        </p:nvSpPr>
        <p:spPr>
          <a:xfrm>
            <a:off x="4740500" y="1152809"/>
            <a:ext cx="2340000" cy="1373636"/>
          </a:xfrm>
          <a:prstGeom prst="roundRect">
            <a:avLst>
              <a:gd name="adj" fmla="val 6792"/>
            </a:avLst>
          </a:prstGeom>
          <a:solidFill>
            <a:srgbClr val="686F71"/>
          </a:solidFill>
          <a:ln w="38100">
            <a:solidFill>
              <a:srgbClr val="CCCCCC"/>
            </a:solidFill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31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33DE9F9-7BE9-462D-9AFB-992A94250A4E}"/>
              </a:ext>
            </a:extLst>
          </p:cNvPr>
          <p:cNvGrpSpPr/>
          <p:nvPr/>
        </p:nvGrpSpPr>
        <p:grpSpPr>
          <a:xfrm>
            <a:off x="2054560" y="2990245"/>
            <a:ext cx="5004664" cy="1381705"/>
            <a:chOff x="1871592" y="992969"/>
            <a:chExt cx="5004664" cy="1381705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E8CA2C91-21F0-4F60-AA7C-72B3A13940C1}"/>
                </a:ext>
              </a:extLst>
            </p:cNvPr>
            <p:cNvSpPr/>
            <p:nvPr/>
          </p:nvSpPr>
          <p:spPr>
            <a:xfrm>
              <a:off x="1871592" y="1001038"/>
              <a:ext cx="2340000" cy="1373636"/>
            </a:xfrm>
            <a:prstGeom prst="roundRect">
              <a:avLst>
                <a:gd name="adj" fmla="val 6792"/>
              </a:avLst>
            </a:prstGeom>
            <a:solidFill>
              <a:srgbClr val="686F71"/>
            </a:solidFill>
            <a:ln w="38100">
              <a:solidFill>
                <a:srgbClr val="CCCCCC"/>
              </a:solidFill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931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6EE02405-7A49-4654-9783-A94A94311807}"/>
                </a:ext>
              </a:extLst>
            </p:cNvPr>
            <p:cNvSpPr/>
            <p:nvPr/>
          </p:nvSpPr>
          <p:spPr>
            <a:xfrm>
              <a:off x="4536256" y="992969"/>
              <a:ext cx="2340000" cy="1373636"/>
            </a:xfrm>
            <a:prstGeom prst="roundRect">
              <a:avLst>
                <a:gd name="adj" fmla="val 6792"/>
              </a:avLst>
            </a:prstGeom>
            <a:solidFill>
              <a:srgbClr val="686F71"/>
            </a:solidFill>
            <a:ln w="38100">
              <a:solidFill>
                <a:srgbClr val="CCCCCC"/>
              </a:solidFill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93133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2" name="Teardrop 31">
            <a:extLst>
              <a:ext uri="{FF2B5EF4-FFF2-40B4-BE49-F238E27FC236}">
                <a16:creationId xmlns:a16="http://schemas.microsoft.com/office/drawing/2014/main" id="{33F64727-C46B-4204-9DCF-E2A24E222FE6}"/>
              </a:ext>
            </a:extLst>
          </p:cNvPr>
          <p:cNvSpPr/>
          <p:nvPr/>
        </p:nvSpPr>
        <p:spPr>
          <a:xfrm rot="2700000">
            <a:off x="566110" y="2945170"/>
            <a:ext cx="1393150" cy="1393150"/>
          </a:xfrm>
          <a:prstGeom prst="teardrop">
            <a:avLst/>
          </a:prstGeom>
          <a:solidFill>
            <a:schemeClr val="accent4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3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35" name="Teardrop 34">
            <a:extLst>
              <a:ext uri="{FF2B5EF4-FFF2-40B4-BE49-F238E27FC236}">
                <a16:creationId xmlns:a16="http://schemas.microsoft.com/office/drawing/2014/main" id="{A84B86ED-6A21-4C78-979A-B0CCFCF271C5}"/>
              </a:ext>
            </a:extLst>
          </p:cNvPr>
          <p:cNvSpPr/>
          <p:nvPr/>
        </p:nvSpPr>
        <p:spPr>
          <a:xfrm rot="18900000" flipH="1">
            <a:off x="7190393" y="2946858"/>
            <a:ext cx="1393150" cy="1393150"/>
          </a:xfrm>
          <a:prstGeom prst="teardrop">
            <a:avLst/>
          </a:prstGeom>
          <a:solidFill>
            <a:schemeClr val="accent4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3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30" name="Teardrop 29">
            <a:extLst>
              <a:ext uri="{FF2B5EF4-FFF2-40B4-BE49-F238E27FC236}">
                <a16:creationId xmlns:a16="http://schemas.microsoft.com/office/drawing/2014/main" id="{76A656EB-38C5-4863-9F9A-3073DF7E4251}"/>
              </a:ext>
            </a:extLst>
          </p:cNvPr>
          <p:cNvSpPr/>
          <p:nvPr/>
        </p:nvSpPr>
        <p:spPr>
          <a:xfrm rot="18900000" flipH="1">
            <a:off x="7190393" y="1099665"/>
            <a:ext cx="1393150" cy="1393150"/>
          </a:xfrm>
          <a:prstGeom prst="teardrop">
            <a:avLst/>
          </a:prstGeom>
          <a:solidFill>
            <a:schemeClr val="accent4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3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2" name="Zástupný symbol pro text 1"/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 anchor="b"/>
          <a:lstStyle/>
          <a:p>
            <a:r>
              <a:rPr lang="cs-CZ" dirty="0"/>
              <a:t>VYBRANÉ </a:t>
            </a:r>
            <a:r>
              <a:rPr lang="cs-CZ" dirty="0" smtClean="0"/>
              <a:t>oblasti, kde lze komplexní „IoT“ používat</a:t>
            </a:r>
            <a:endParaRPr lang="en-US" dirty="0"/>
          </a:p>
        </p:txBody>
      </p:sp>
      <p:sp>
        <p:nvSpPr>
          <p:cNvPr id="6" name="TextovéPole 5"/>
          <p:cNvSpPr txBox="1"/>
          <p:nvPr/>
        </p:nvSpPr>
        <p:spPr>
          <a:xfrm>
            <a:off x="4928983" y="1468480"/>
            <a:ext cx="1963034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350">
                <a:solidFill>
                  <a:schemeClr val="tx2"/>
                </a:solidFill>
                <a:latin typeface="Gotham Rounded Book" pitchFamily="50" charset="-18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Gotham Rounded Book" pitchFamily="50" charset="-18"/>
                <a:ea typeface="+mn-ea"/>
                <a:cs typeface="+mn-cs"/>
              </a:rPr>
              <a:t>PROVOZ – PROCES</a:t>
            </a:r>
          </a:p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 smtClean="0">
                <a:solidFill>
                  <a:schemeClr val="accent1">
                    <a:lumMod val="75000"/>
                  </a:schemeClr>
                </a:solidFill>
              </a:rPr>
              <a:t>HACCP</a:t>
            </a:r>
          </a:p>
          <a:p>
            <a:pPr lvl="0">
              <a:defRPr/>
            </a:pPr>
            <a:r>
              <a:rPr lang="cs-CZ" dirty="0">
                <a:solidFill>
                  <a:schemeClr val="accent3">
                    <a:lumMod val="75000"/>
                  </a:schemeClr>
                </a:solidFill>
              </a:rPr>
              <a:t>BOZP</a:t>
            </a:r>
          </a:p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MIKROKLIMA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Gotham Rounded Book" pitchFamily="50" charset="-18"/>
              <a:ea typeface="+mn-ea"/>
              <a:cs typeface="+mn-cs"/>
            </a:endParaRPr>
          </a:p>
        </p:txBody>
      </p:sp>
      <p:sp>
        <p:nvSpPr>
          <p:cNvPr id="8" name="TextovéPole 7"/>
          <p:cNvSpPr txBox="1"/>
          <p:nvPr/>
        </p:nvSpPr>
        <p:spPr>
          <a:xfrm>
            <a:off x="2267906" y="1491630"/>
            <a:ext cx="208807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5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Gotham Rounded Book" pitchFamily="50" charset="-18"/>
              </a:defRPr>
            </a:lvl1pPr>
          </a:lstStyle>
          <a:p>
            <a:r>
              <a:rPr lang="cs-CZ" b="1" dirty="0" smtClean="0"/>
              <a:t>PROVOZ - ENERGIE</a:t>
            </a:r>
          </a:p>
          <a:p>
            <a:r>
              <a:rPr lang="cs-CZ" dirty="0" err="1" smtClean="0">
                <a:solidFill>
                  <a:schemeClr val="accent3">
                    <a:lumMod val="75000"/>
                  </a:schemeClr>
                </a:solidFill>
              </a:rPr>
              <a:t>Energy</a:t>
            </a:r>
            <a:r>
              <a:rPr lang="cs-CZ" dirty="0" smtClean="0">
                <a:solidFill>
                  <a:schemeClr val="accent3">
                    <a:lumMod val="75000"/>
                  </a:schemeClr>
                </a:solidFill>
              </a:rPr>
              <a:t> management</a:t>
            </a:r>
          </a:p>
          <a:p>
            <a:r>
              <a:rPr lang="cs-CZ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Vodní hospodářství</a:t>
            </a:r>
          </a:p>
          <a:p>
            <a:r>
              <a:rPr lang="cs-CZ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Vzdálené odečty</a:t>
            </a:r>
            <a:endParaRPr lang="en-US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1" name="TextovéPole 10"/>
          <p:cNvSpPr txBox="1"/>
          <p:nvPr/>
        </p:nvSpPr>
        <p:spPr>
          <a:xfrm>
            <a:off x="4834659" y="3407772"/>
            <a:ext cx="2383939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350">
                <a:solidFill>
                  <a:schemeClr val="tx2"/>
                </a:solidFill>
                <a:latin typeface="Gotham Rounded Book" pitchFamily="50" charset="-18"/>
              </a:defRPr>
            </a:lvl1pPr>
          </a:lstStyle>
          <a:p>
            <a:pPr lvl="0"/>
            <a:r>
              <a:rPr kumimoji="0" lang="cs-CZ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Gotham Rounded Book" pitchFamily="50" charset="-18"/>
                <a:ea typeface="+mn-ea"/>
                <a:cs typeface="+mn-cs"/>
              </a:rPr>
              <a:t>ŽIVOTNÍ PROSTŘEDÍ</a:t>
            </a:r>
          </a:p>
          <a:p>
            <a:pPr lvl="0"/>
            <a:r>
              <a:rPr lang="cs-CZ" dirty="0" err="1" smtClean="0">
                <a:solidFill>
                  <a:schemeClr val="accent3">
                    <a:lumMod val="75000"/>
                  </a:schemeClr>
                </a:solidFill>
              </a:rPr>
              <a:t>Environment</a:t>
            </a:r>
            <a:r>
              <a:rPr lang="cs-CZ" dirty="0" smtClean="0">
                <a:solidFill>
                  <a:schemeClr val="accent3">
                    <a:lumMod val="75000"/>
                  </a:schemeClr>
                </a:solidFill>
              </a:rPr>
              <a:t> – půda</a:t>
            </a:r>
          </a:p>
          <a:p>
            <a:pPr lvl="0"/>
            <a:r>
              <a:rPr lang="cs-CZ" dirty="0" smtClean="0">
                <a:solidFill>
                  <a:schemeClr val="accent1">
                    <a:lumMod val="75000"/>
                  </a:schemeClr>
                </a:solidFill>
              </a:rPr>
              <a:t>Hlukové, smogové mapy</a:t>
            </a:r>
          </a:p>
          <a:p>
            <a:pPr lvl="0"/>
            <a:r>
              <a:rPr lang="cs-CZ" dirty="0" err="1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Meteostanice</a:t>
            </a:r>
            <a:endParaRPr lang="cs-CZ" dirty="0" smtClean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pPr lvl="0"/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chemeClr val="accent3">
                  <a:lumMod val="75000"/>
                </a:schemeClr>
              </a:solidFill>
              <a:effectLst/>
              <a:uLnTx/>
              <a:uFillTx/>
              <a:latin typeface="Gotham Rounded Book" pitchFamily="50" charset="-18"/>
              <a:ea typeface="+mn-ea"/>
              <a:cs typeface="+mn-cs"/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2210149" y="3391967"/>
            <a:ext cx="24591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50" b="0" i="0" u="none" strike="noStrike" cap="none" spc="0" normalizeH="0" baseline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Gotham Rounded Book" pitchFamily="50" charset="-18"/>
              </a:defRPr>
            </a:lvl1pPr>
          </a:lstStyle>
          <a:p>
            <a:r>
              <a:rPr lang="cs-CZ" b="1" dirty="0" smtClean="0"/>
              <a:t>PROVOZ - LOGISTIKA</a:t>
            </a:r>
          </a:p>
          <a:p>
            <a:r>
              <a:rPr lang="cs-CZ" dirty="0" smtClean="0">
                <a:solidFill>
                  <a:schemeClr val="accent1">
                    <a:lumMod val="75000"/>
                  </a:schemeClr>
                </a:solidFill>
              </a:rPr>
              <a:t>Lokalizace </a:t>
            </a:r>
          </a:p>
          <a:p>
            <a:r>
              <a:rPr lang="cs-CZ" dirty="0" err="1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Tracking</a:t>
            </a:r>
            <a:endParaRPr lang="cs-CZ" dirty="0" smtClean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r>
              <a:rPr lang="cs-CZ" dirty="0" smtClean="0">
                <a:solidFill>
                  <a:schemeClr val="accent1">
                    <a:lumMod val="40000"/>
                    <a:lumOff val="60000"/>
                  </a:schemeClr>
                </a:solidFill>
              </a:rPr>
              <a:t>Zónování &amp; seskupování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422EA61-DAA8-4E6D-B1C1-24D8E23F4FD6}"/>
              </a:ext>
            </a:extLst>
          </p:cNvPr>
          <p:cNvGrpSpPr/>
          <p:nvPr/>
        </p:nvGrpSpPr>
        <p:grpSpPr>
          <a:xfrm>
            <a:off x="560457" y="1092093"/>
            <a:ext cx="1393150" cy="1393150"/>
            <a:chOff x="560457" y="1092093"/>
            <a:chExt cx="1393150" cy="1393150"/>
          </a:xfrm>
        </p:grpSpPr>
        <p:sp>
          <p:nvSpPr>
            <p:cNvPr id="20" name="Teardrop 19">
              <a:extLst>
                <a:ext uri="{FF2B5EF4-FFF2-40B4-BE49-F238E27FC236}">
                  <a16:creationId xmlns:a16="http://schemas.microsoft.com/office/drawing/2014/main" id="{1E039772-3CAC-4592-B17C-FAD7B055E76E}"/>
                </a:ext>
              </a:extLst>
            </p:cNvPr>
            <p:cNvSpPr/>
            <p:nvPr/>
          </p:nvSpPr>
          <p:spPr>
            <a:xfrm rot="2700000">
              <a:off x="560457" y="1092093"/>
              <a:ext cx="1393150" cy="1393150"/>
            </a:xfrm>
            <a:prstGeom prst="teardrop">
              <a:avLst/>
            </a:prstGeom>
            <a:solidFill>
              <a:schemeClr val="accent4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399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E518B04C-D174-4D78-B0EA-16E0182541E8}"/>
                </a:ext>
              </a:extLst>
            </p:cNvPr>
            <p:cNvSpPr/>
            <p:nvPr/>
          </p:nvSpPr>
          <p:spPr>
            <a:xfrm>
              <a:off x="634232" y="1165868"/>
              <a:ext cx="1245600" cy="1245600"/>
            </a:xfrm>
            <a:prstGeom prst="ellipse">
              <a:avLst/>
            </a:prstGeom>
            <a:solidFill>
              <a:srgbClr val="686F7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99" b="0" i="0" u="none" strike="noStrike" kern="1200" cap="none" spc="0" normalizeH="0" baseline="0" noProof="0">
                <a:ln>
                  <a:noFill/>
                </a:ln>
                <a:solidFill>
                  <a:srgbClr val="293133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27" name="Oval 26">
            <a:extLst>
              <a:ext uri="{FF2B5EF4-FFF2-40B4-BE49-F238E27FC236}">
                <a16:creationId xmlns:a16="http://schemas.microsoft.com/office/drawing/2014/main" id="{7A257AD3-E51D-4300-B140-5E52C793DFBC}"/>
              </a:ext>
            </a:extLst>
          </p:cNvPr>
          <p:cNvSpPr/>
          <p:nvPr/>
        </p:nvSpPr>
        <p:spPr>
          <a:xfrm>
            <a:off x="639885" y="3018268"/>
            <a:ext cx="1245600" cy="1245600"/>
          </a:xfrm>
          <a:prstGeom prst="ellipse">
            <a:avLst/>
          </a:prstGeom>
          <a:solidFill>
            <a:srgbClr val="686F7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99" b="0" i="0" u="none" strike="noStrike" kern="1200" cap="none" spc="0" normalizeH="0" baseline="0" noProof="0">
              <a:ln>
                <a:noFill/>
              </a:ln>
              <a:solidFill>
                <a:srgbClr val="293133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B2727E04-7338-4A77-8C69-8ECFE7CAB010}"/>
              </a:ext>
            </a:extLst>
          </p:cNvPr>
          <p:cNvSpPr/>
          <p:nvPr/>
        </p:nvSpPr>
        <p:spPr>
          <a:xfrm>
            <a:off x="7264168" y="1173440"/>
            <a:ext cx="1245600" cy="1245600"/>
          </a:xfrm>
          <a:prstGeom prst="ellipse">
            <a:avLst/>
          </a:prstGeom>
          <a:solidFill>
            <a:srgbClr val="686F7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99" b="0" i="0" u="none" strike="noStrike" kern="1200" cap="none" spc="0" normalizeH="0" baseline="0" noProof="0">
              <a:ln>
                <a:noFill/>
              </a:ln>
              <a:solidFill>
                <a:srgbClr val="293133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3E8DCC3-592C-43F3-B94A-7D68B22D4348}"/>
              </a:ext>
            </a:extLst>
          </p:cNvPr>
          <p:cNvSpPr/>
          <p:nvPr/>
        </p:nvSpPr>
        <p:spPr>
          <a:xfrm>
            <a:off x="7264168" y="3028484"/>
            <a:ext cx="1245600" cy="1245600"/>
          </a:xfrm>
          <a:prstGeom prst="ellipse">
            <a:avLst/>
          </a:prstGeom>
          <a:solidFill>
            <a:srgbClr val="686F7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99" b="0" i="0" u="none" strike="noStrike" kern="1200" cap="none" spc="0" normalizeH="0" baseline="0" noProof="0">
              <a:ln>
                <a:noFill/>
              </a:ln>
              <a:solidFill>
                <a:srgbClr val="293133">
                  <a:lumMod val="65000"/>
                  <a:lumOff val="35000"/>
                </a:srgb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21" name="Parallelogram 15">
            <a:extLst>
              <a:ext uri="{FF2B5EF4-FFF2-40B4-BE49-F238E27FC236}">
                <a16:creationId xmlns:a16="http://schemas.microsoft.com/office/drawing/2014/main" id="{2EFFA24D-4E9D-4538-B54A-41E3FC793255}"/>
              </a:ext>
            </a:extLst>
          </p:cNvPr>
          <p:cNvSpPr/>
          <p:nvPr/>
        </p:nvSpPr>
        <p:spPr>
          <a:xfrm rot="16200000">
            <a:off x="7626498" y="1489481"/>
            <a:ext cx="520940" cy="563899"/>
          </a:xfrm>
          <a:custGeom>
            <a:avLst/>
            <a:gdLst/>
            <a:ahLst/>
            <a:cxnLst/>
            <a:rect l="l" t="t" r="r" b="b"/>
            <a:pathLst>
              <a:path w="2993176" h="3240001">
                <a:moveTo>
                  <a:pt x="1299907" y="647892"/>
                </a:moveTo>
                <a:lnTo>
                  <a:pt x="665509" y="1620000"/>
                </a:lnTo>
                <a:lnTo>
                  <a:pt x="1299907" y="2592108"/>
                </a:lnTo>
                <a:lnTo>
                  <a:pt x="634398" y="2592108"/>
                </a:lnTo>
                <a:lnTo>
                  <a:pt x="0" y="1620000"/>
                </a:lnTo>
                <a:lnTo>
                  <a:pt x="634398" y="647892"/>
                </a:lnTo>
                <a:close/>
                <a:moveTo>
                  <a:pt x="2993176" y="1620001"/>
                </a:moveTo>
                <a:lnTo>
                  <a:pt x="1913056" y="3240001"/>
                </a:lnTo>
                <a:lnTo>
                  <a:pt x="1782206" y="3043749"/>
                </a:lnTo>
                <a:lnTo>
                  <a:pt x="1110064" y="3043749"/>
                </a:lnTo>
                <a:cubicBezTo>
                  <a:pt x="1089036" y="3096599"/>
                  <a:pt x="1037333" y="3133759"/>
                  <a:pt x="976952" y="3133759"/>
                </a:cubicBezTo>
                <a:cubicBezTo>
                  <a:pt x="923853" y="3133759"/>
                  <a:pt x="877466" y="3105022"/>
                  <a:pt x="854540" y="3061058"/>
                </a:cubicBezTo>
                <a:lnTo>
                  <a:pt x="302383" y="3169763"/>
                </a:lnTo>
                <a:lnTo>
                  <a:pt x="302383" y="2809723"/>
                </a:lnTo>
                <a:lnTo>
                  <a:pt x="854540" y="2918427"/>
                </a:lnTo>
                <a:cubicBezTo>
                  <a:pt x="877466" y="2874463"/>
                  <a:pt x="923853" y="2845727"/>
                  <a:pt x="976952" y="2845727"/>
                </a:cubicBezTo>
                <a:cubicBezTo>
                  <a:pt x="1037333" y="2845727"/>
                  <a:pt x="1089036" y="2882887"/>
                  <a:pt x="1110064" y="2935737"/>
                </a:cubicBezTo>
                <a:lnTo>
                  <a:pt x="1710190" y="2935737"/>
                </a:lnTo>
                <a:lnTo>
                  <a:pt x="832936" y="1620001"/>
                </a:lnTo>
                <a:lnTo>
                  <a:pt x="191305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pic>
        <p:nvPicPr>
          <p:cNvPr id="26" name="Picture 2" descr="VÃ½sledek obrÃ¡zku pro smart metering"/>
          <p:cNvPicPr>
            <a:picLocks noChangeArrowheads="1"/>
          </p:cNvPicPr>
          <p:nvPr/>
        </p:nvPicPr>
        <p:blipFill rotWithShape="1">
          <a:blip r:embed="rId3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8" r="7575" b="8401"/>
          <a:stretch/>
        </p:blipFill>
        <p:spPr bwMode="auto">
          <a:xfrm>
            <a:off x="631080" y="1160337"/>
            <a:ext cx="1245600" cy="12456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Left Arrow 1">
            <a:extLst>
              <a:ext uri="{FF2B5EF4-FFF2-40B4-BE49-F238E27FC236}">
                <a16:creationId xmlns:a16="http://schemas.microsoft.com/office/drawing/2014/main" id="{A2EC6153-A57E-4BA3-A61B-0A3C87C431EA}"/>
              </a:ext>
            </a:extLst>
          </p:cNvPr>
          <p:cNvSpPr>
            <a:spLocks noChangeAspect="1"/>
          </p:cNvSpPr>
          <p:nvPr/>
        </p:nvSpPr>
        <p:spPr>
          <a:xfrm>
            <a:off x="7622246" y="3357271"/>
            <a:ext cx="544340" cy="529812"/>
          </a:xfrm>
          <a:custGeom>
            <a:avLst/>
            <a:gdLst/>
            <a:ahLst/>
            <a:cxnLst/>
            <a:rect l="l" t="t" r="r" b="b"/>
            <a:pathLst>
              <a:path w="3306630" h="3218379">
                <a:moveTo>
                  <a:pt x="0" y="2085651"/>
                </a:moveTo>
                <a:cubicBezTo>
                  <a:pt x="253919" y="2342528"/>
                  <a:pt x="881542" y="2297196"/>
                  <a:pt x="1388167" y="2271654"/>
                </a:cubicBezTo>
                <a:lnTo>
                  <a:pt x="1417952" y="2988872"/>
                </a:lnTo>
                <a:lnTo>
                  <a:pt x="717647" y="2950294"/>
                </a:lnTo>
                <a:cubicBezTo>
                  <a:pt x="467617" y="2928101"/>
                  <a:pt x="217417" y="2555860"/>
                  <a:pt x="0" y="2085651"/>
                </a:cubicBezTo>
                <a:close/>
                <a:moveTo>
                  <a:pt x="1969797" y="2019847"/>
                </a:moveTo>
                <a:lnTo>
                  <a:pt x="1969797" y="2274913"/>
                </a:lnTo>
                <a:lnTo>
                  <a:pt x="2657809" y="2274913"/>
                </a:lnTo>
                <a:cubicBezTo>
                  <a:pt x="2787205" y="2599270"/>
                  <a:pt x="2968360" y="2923626"/>
                  <a:pt x="2675062" y="2954686"/>
                </a:cubicBezTo>
                <a:lnTo>
                  <a:pt x="1969797" y="2963313"/>
                </a:lnTo>
                <a:lnTo>
                  <a:pt x="1969797" y="3218379"/>
                </a:lnTo>
                <a:lnTo>
                  <a:pt x="1429598" y="2619113"/>
                </a:lnTo>
                <a:close/>
                <a:moveTo>
                  <a:pt x="2961009" y="1275432"/>
                </a:moveTo>
                <a:lnTo>
                  <a:pt x="3277752" y="1901203"/>
                </a:lnTo>
                <a:cubicBezTo>
                  <a:pt x="3383548" y="2128832"/>
                  <a:pt x="3186278" y="2531632"/>
                  <a:pt x="2887773" y="2955026"/>
                </a:cubicBezTo>
                <a:cubicBezTo>
                  <a:pt x="2983276" y="2606687"/>
                  <a:pt x="2630206" y="2085815"/>
                  <a:pt x="2354773" y="1659836"/>
                </a:cubicBezTo>
                <a:close/>
                <a:moveTo>
                  <a:pt x="1019997" y="990789"/>
                </a:moveTo>
                <a:lnTo>
                  <a:pt x="1268877" y="1758248"/>
                </a:lnTo>
                <a:lnTo>
                  <a:pt x="1047983" y="1630715"/>
                </a:lnTo>
                <a:lnTo>
                  <a:pt x="703977" y="2226552"/>
                </a:lnTo>
                <a:cubicBezTo>
                  <a:pt x="358378" y="2176433"/>
                  <a:pt x="-13100" y="2171140"/>
                  <a:pt x="106650" y="1901606"/>
                </a:cubicBezTo>
                <a:lnTo>
                  <a:pt x="451811" y="1286515"/>
                </a:lnTo>
                <a:lnTo>
                  <a:pt x="230918" y="1158982"/>
                </a:lnTo>
                <a:close/>
                <a:moveTo>
                  <a:pt x="2174825" y="119764"/>
                </a:moveTo>
                <a:cubicBezTo>
                  <a:pt x="2220451" y="119103"/>
                  <a:pt x="2264887" y="143875"/>
                  <a:pt x="2308274" y="203493"/>
                </a:cubicBezTo>
                <a:lnTo>
                  <a:pt x="2668377" y="809957"/>
                </a:lnTo>
                <a:lnTo>
                  <a:pt x="2889271" y="682424"/>
                </a:lnTo>
                <a:lnTo>
                  <a:pt x="2640391" y="1449883"/>
                </a:lnTo>
                <a:lnTo>
                  <a:pt x="1851312" y="1281690"/>
                </a:lnTo>
                <a:lnTo>
                  <a:pt x="2072206" y="1154157"/>
                </a:lnTo>
                <a:lnTo>
                  <a:pt x="1728200" y="558321"/>
                </a:lnTo>
                <a:cubicBezTo>
                  <a:pt x="1890352" y="352642"/>
                  <a:pt x="2037947" y="121750"/>
                  <a:pt x="2174825" y="119764"/>
                </a:cubicBezTo>
                <a:close/>
                <a:moveTo>
                  <a:pt x="1831774" y="30"/>
                </a:moveTo>
                <a:cubicBezTo>
                  <a:pt x="1948530" y="539"/>
                  <a:pt x="2073232" y="7407"/>
                  <a:pt x="2202212" y="19111"/>
                </a:cubicBezTo>
                <a:cubicBezTo>
                  <a:pt x="1852790" y="110572"/>
                  <a:pt x="1578238" y="676776"/>
                  <a:pt x="1347045" y="1128297"/>
                </a:cubicBezTo>
                <a:lnTo>
                  <a:pt x="711024" y="795483"/>
                </a:lnTo>
                <a:lnTo>
                  <a:pt x="1094586" y="208291"/>
                </a:lnTo>
                <a:cubicBezTo>
                  <a:pt x="1202761" y="54213"/>
                  <a:pt x="1481508" y="-1496"/>
                  <a:pt x="1831774" y="30"/>
                </a:cubicBezTo>
                <a:close/>
              </a:path>
            </a:pathLst>
          </a:custGeom>
          <a:solidFill>
            <a:srgbClr val="4D4D4D"/>
          </a:solidFill>
          <a:ln w="3175">
            <a:solidFill>
              <a:schemeClr val="bg1"/>
            </a:solidFill>
          </a:ln>
          <a:effectLst>
            <a:glow rad="25400">
              <a:schemeClr val="bg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33" name="Oval 47">
            <a:extLst>
              <a:ext uri="{FF2B5EF4-FFF2-40B4-BE49-F238E27FC236}">
                <a16:creationId xmlns:a16="http://schemas.microsoft.com/office/drawing/2014/main" id="{DDDEF6F6-632D-44E0-8297-B7D68CA2026A}"/>
              </a:ext>
            </a:extLst>
          </p:cNvPr>
          <p:cNvSpPr>
            <a:spLocks noChangeAspect="1"/>
          </p:cNvSpPr>
          <p:nvPr/>
        </p:nvSpPr>
        <p:spPr>
          <a:xfrm>
            <a:off x="986932" y="3362445"/>
            <a:ext cx="529812" cy="529812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1303187" y="480874"/>
                </a:moveTo>
                <a:lnTo>
                  <a:pt x="1303187" y="1303187"/>
                </a:lnTo>
                <a:lnTo>
                  <a:pt x="480874" y="1303187"/>
                </a:lnTo>
                <a:lnTo>
                  <a:pt x="480874" y="1936813"/>
                </a:lnTo>
                <a:lnTo>
                  <a:pt x="1303187" y="1936813"/>
                </a:lnTo>
                <a:lnTo>
                  <a:pt x="1303187" y="2759126"/>
                </a:lnTo>
                <a:lnTo>
                  <a:pt x="1936813" y="2759126"/>
                </a:lnTo>
                <a:lnTo>
                  <a:pt x="1936813" y="1936813"/>
                </a:lnTo>
                <a:lnTo>
                  <a:pt x="2759126" y="1936813"/>
                </a:lnTo>
                <a:lnTo>
                  <a:pt x="2759126" y="1303187"/>
                </a:lnTo>
                <a:lnTo>
                  <a:pt x="1936813" y="1303187"/>
                </a:lnTo>
                <a:lnTo>
                  <a:pt x="1936813" y="480874"/>
                </a:lnTo>
                <a:close/>
                <a:moveTo>
                  <a:pt x="1620000" y="0"/>
                </a:moveTo>
                <a:cubicBezTo>
                  <a:pt x="2514701" y="0"/>
                  <a:pt x="3240000" y="725299"/>
                  <a:pt x="3240000" y="1620000"/>
                </a:cubicBezTo>
                <a:cubicBezTo>
                  <a:pt x="3240000" y="2514701"/>
                  <a:pt x="2514701" y="3240000"/>
                  <a:pt x="1620000" y="3240000"/>
                </a:cubicBezTo>
                <a:cubicBezTo>
                  <a:pt x="725299" y="3240000"/>
                  <a:pt x="0" y="2514701"/>
                  <a:pt x="0" y="1620000"/>
                </a:cubicBezTo>
                <a:cubicBezTo>
                  <a:pt x="0" y="725299"/>
                  <a:pt x="725299" y="0"/>
                  <a:pt x="1620000" y="0"/>
                </a:cubicBezTo>
                <a:close/>
              </a:path>
            </a:pathLst>
          </a:custGeom>
          <a:solidFill>
            <a:srgbClr val="CC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</p:spTree>
    <p:extLst>
      <p:ext uri="{BB962C8B-B14F-4D97-AF65-F5344CB8AC3E}">
        <p14:creationId xmlns:p14="http://schemas.microsoft.com/office/powerpoint/2010/main" val="3792809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AE3A0A9-6F0D-4D5A-AAF6-B10D431ECC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76056" y="1635646"/>
            <a:ext cx="3852000" cy="471378"/>
          </a:xfrm>
        </p:spPr>
        <p:txBody>
          <a:bodyPr/>
          <a:lstStyle/>
          <a:p>
            <a:r>
              <a:rPr lang="cs-CZ" dirty="0" smtClean="0"/>
              <a:t>Internet věcí v pojetí CRA a partnera TANIX</a:t>
            </a:r>
            <a:endParaRPr lang="cs-CZ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BD1DFA-87E1-4114-91FE-CA6333794E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056" y="3111823"/>
            <a:ext cx="2880000" cy="216000"/>
          </a:xfrm>
        </p:spPr>
        <p:txBody>
          <a:bodyPr/>
          <a:lstStyle/>
          <a:p>
            <a:r>
              <a:rPr lang="cs-CZ" dirty="0" smtClean="0"/>
              <a:t>31.5.2021</a:t>
            </a:r>
            <a:endParaRPr lang="cs-CZ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093F46-C5CD-410D-BB2E-7CE9355C7B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6056" y="2176820"/>
            <a:ext cx="3852000" cy="272637"/>
          </a:xfrm>
        </p:spPr>
        <p:txBody>
          <a:bodyPr/>
          <a:lstStyle/>
          <a:p>
            <a:r>
              <a:rPr lang="cs-CZ" dirty="0" smtClean="0"/>
              <a:t>Oblasti nasazení IoT řešení</a:t>
            </a:r>
            <a:endParaRPr lang="cs-CZ" dirty="0"/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96336" y="4227934"/>
            <a:ext cx="1208089" cy="623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98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3501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4652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8" grpId="0" build="p"/>
      <p:bldP spid="5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Obnovitelná energie – Wikipedie">
            <a:extLst>
              <a:ext uri="{FF2B5EF4-FFF2-40B4-BE49-F238E27FC236}">
                <a16:creationId xmlns:a16="http://schemas.microsoft.com/office/drawing/2014/main" id="{1216159A-5B24-B619-5474-62E2D05443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224" y="1360900"/>
            <a:ext cx="2368199" cy="2368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ovéPole 6">
            <a:extLst>
              <a:ext uri="{FF2B5EF4-FFF2-40B4-BE49-F238E27FC236}">
                <a16:creationId xmlns:a16="http://schemas.microsoft.com/office/drawing/2014/main" id="{CE6DB1FC-FD34-FC67-C4DB-EAB1530C162A}"/>
              </a:ext>
            </a:extLst>
          </p:cNvPr>
          <p:cNvSpPr txBox="1"/>
          <p:nvPr/>
        </p:nvSpPr>
        <p:spPr>
          <a:xfrm>
            <a:off x="80431" y="226124"/>
            <a:ext cx="8465405" cy="779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342523">
              <a:spcBef>
                <a:spcPct val="20000"/>
              </a:spcBef>
              <a:buClr>
                <a:schemeClr val="accent6"/>
              </a:buClr>
              <a:buSzPct val="100000"/>
            </a:pPr>
            <a:r>
              <a:rPr lang="cs-CZ" sz="1500" cap="all" dirty="0">
                <a:solidFill>
                  <a:schemeClr val="tx2"/>
                </a:solidFill>
                <a:latin typeface="Gotham Rounded Book" pitchFamily="50" charset="0"/>
              </a:rPr>
              <a:t>ENERGIE - SBĚR DAT Z MĚŘIDEL</a:t>
            </a:r>
          </a:p>
          <a:p>
            <a:endParaRPr lang="cs-CZ" sz="225" b="1" dirty="0">
              <a:solidFill>
                <a:srgbClr val="00B0F0"/>
              </a:solidFill>
            </a:endParaRPr>
          </a:p>
          <a:p>
            <a:pPr defTabSz="457067">
              <a:lnSpc>
                <a:spcPct val="90000"/>
              </a:lnSpc>
              <a:spcBef>
                <a:spcPts val="675"/>
              </a:spcBef>
              <a:buClr>
                <a:schemeClr val="accent6"/>
              </a:buClr>
              <a:buSzPct val="100000"/>
            </a:pPr>
            <a:r>
              <a:rPr lang="cs-CZ" sz="1200" cap="all" dirty="0">
                <a:solidFill>
                  <a:schemeClr val="accent1">
                    <a:lumMod val="75000"/>
                  </a:schemeClr>
                </a:solidFill>
                <a:latin typeface="Gotham Rounded Book" pitchFamily="50" charset="-18"/>
              </a:rPr>
              <a:t>s přenosem stavů, trendů a zůstatků k náhledu, správě a vyúčtování všem uživatelům, dle úrovně jejich oprávnění 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3FEF29A8-E89C-C0C0-6020-943AF1D56E97}"/>
              </a:ext>
            </a:extLst>
          </p:cNvPr>
          <p:cNvGrpSpPr/>
          <p:nvPr/>
        </p:nvGrpSpPr>
        <p:grpSpPr>
          <a:xfrm>
            <a:off x="-2722" y="4083918"/>
            <a:ext cx="9144000" cy="607136"/>
            <a:chOff x="0" y="588629"/>
            <a:chExt cx="12192000" cy="809515"/>
          </a:xfrm>
        </p:grpSpPr>
        <p:pic>
          <p:nvPicPr>
            <p:cNvPr id="9" name="Obrázek 8">
              <a:extLst>
                <a:ext uri="{FF2B5EF4-FFF2-40B4-BE49-F238E27FC236}">
                  <a16:creationId xmlns:a16="http://schemas.microsoft.com/office/drawing/2014/main" id="{E24819B6-BC7A-7890-3565-7A8F519092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2887"/>
            <a:stretch/>
          </p:blipFill>
          <p:spPr>
            <a:xfrm>
              <a:off x="1217645" y="588629"/>
              <a:ext cx="10974355" cy="809515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CC5A9344-8301-ABF5-19A1-6123BCEEE1F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588629"/>
              <a:ext cx="1392248" cy="809515"/>
            </a:xfrm>
            <a:prstGeom prst="rect">
              <a:avLst/>
            </a:prstGeom>
          </p:spPr>
        </p:pic>
      </p:grpSp>
      <p:sp>
        <p:nvSpPr>
          <p:cNvPr id="11" name="Zástupný symbol pro obsah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cs-CZ" dirty="0"/>
              <a:t>S</a:t>
            </a:r>
            <a:r>
              <a:rPr lang="pt-BR" dirty="0" smtClean="0"/>
              <a:t>měrnicí </a:t>
            </a:r>
            <a:r>
              <a:rPr lang="pt-BR" dirty="0"/>
              <a:t>Evropského parlamentu a Rady </a:t>
            </a:r>
            <a:r>
              <a:rPr lang="pt-BR" dirty="0" smtClean="0"/>
              <a:t>2018/2002/EU</a:t>
            </a:r>
            <a:endParaRPr lang="cs-CZ" dirty="0" smtClean="0"/>
          </a:p>
          <a:p>
            <a:endParaRPr lang="cs-CZ" dirty="0"/>
          </a:p>
          <a:p>
            <a:r>
              <a:rPr lang="cs-CZ" dirty="0" smtClean="0"/>
              <a:t>-&gt; přijata před koncem roku 2021</a:t>
            </a:r>
          </a:p>
          <a:p>
            <a:endParaRPr lang="cs-CZ" dirty="0" smtClean="0"/>
          </a:p>
          <a:p>
            <a:pPr lvl="1"/>
            <a:r>
              <a:rPr lang="cs-CZ" dirty="0"/>
              <a:t>- zákon č. 362/2021 Sb</a:t>
            </a:r>
            <a:r>
              <a:rPr lang="cs-CZ" dirty="0" smtClean="0"/>
              <a:t>. (Energetický zákon)</a:t>
            </a:r>
          </a:p>
          <a:p>
            <a:pPr lvl="1"/>
            <a:r>
              <a:rPr lang="cs-CZ" dirty="0" smtClean="0"/>
              <a:t>- vyhláška </a:t>
            </a:r>
            <a:r>
              <a:rPr lang="cs-CZ" dirty="0"/>
              <a:t>č. 376/2021 Sb</a:t>
            </a:r>
            <a:r>
              <a:rPr lang="cs-CZ" dirty="0" smtClean="0"/>
              <a:t>.</a:t>
            </a:r>
          </a:p>
          <a:p>
            <a:pPr lvl="2"/>
            <a:r>
              <a:rPr lang="cs-CZ" dirty="0" smtClean="0"/>
              <a:t>-&gt; </a:t>
            </a:r>
            <a:r>
              <a:rPr lang="cs-CZ" dirty="0"/>
              <a:t>o rozúčtování nákladů na vytápění a společnou přípravu teplé vody pro </a:t>
            </a:r>
            <a:r>
              <a:rPr lang="cs-CZ" dirty="0" smtClean="0"/>
              <a:t>dům</a:t>
            </a:r>
          </a:p>
          <a:p>
            <a:pPr lvl="2"/>
            <a:endParaRPr lang="cs-CZ" dirty="0"/>
          </a:p>
          <a:p>
            <a:pPr marL="256892" lvl="2" indent="-256892"/>
            <a:r>
              <a:rPr lang="cs-CZ" sz="1300" dirty="0">
                <a:solidFill>
                  <a:srgbClr val="FFC000"/>
                </a:solidFill>
              </a:rPr>
              <a:t>Dostupnost dat o </a:t>
            </a:r>
            <a:r>
              <a:rPr lang="cs-CZ" sz="1300" dirty="0" smtClean="0">
                <a:solidFill>
                  <a:srgbClr val="FFC000"/>
                </a:solidFill>
              </a:rPr>
              <a:t>spotřebě = </a:t>
            </a:r>
            <a:r>
              <a:rPr lang="cs-CZ" sz="1300" dirty="0">
                <a:solidFill>
                  <a:srgbClr val="FFC000"/>
                </a:solidFill>
              </a:rPr>
              <a:t>alespoň 1 x měsíční </a:t>
            </a:r>
            <a:r>
              <a:rPr lang="cs-CZ" sz="1300" dirty="0" smtClean="0">
                <a:solidFill>
                  <a:srgbClr val="FFC000"/>
                </a:solidFill>
              </a:rPr>
              <a:t>odečet (od r. 2027)</a:t>
            </a:r>
            <a:endParaRPr lang="cs-CZ" sz="13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523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roč sbírat data z měřidel">
            <a:extLst>
              <a:ext uri="{FF2B5EF4-FFF2-40B4-BE49-F238E27FC236}">
                <a16:creationId xmlns:a16="http://schemas.microsoft.com/office/drawing/2014/main" id="{6A5D52F0-C0F7-4383-963F-AC9DB112FA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234" y="532307"/>
            <a:ext cx="7401220" cy="2960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bdélník 5">
            <a:extLst>
              <a:ext uri="{FF2B5EF4-FFF2-40B4-BE49-F238E27FC236}">
                <a16:creationId xmlns:a16="http://schemas.microsoft.com/office/drawing/2014/main" id="{B9FA7A26-B13E-440D-98F1-F72EF43FA5C2}"/>
              </a:ext>
            </a:extLst>
          </p:cNvPr>
          <p:cNvSpPr/>
          <p:nvPr/>
        </p:nvSpPr>
        <p:spPr>
          <a:xfrm>
            <a:off x="3408036" y="1982891"/>
            <a:ext cx="522324" cy="1714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350"/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7D336447-6354-4674-B076-3D4098C5CDCE}"/>
              </a:ext>
            </a:extLst>
          </p:cNvPr>
          <p:cNvSpPr txBox="1"/>
          <p:nvPr/>
        </p:nvSpPr>
        <p:spPr>
          <a:xfrm>
            <a:off x="1186894" y="672990"/>
            <a:ext cx="143500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350" dirty="0">
                <a:solidFill>
                  <a:schemeClr val="tx2"/>
                </a:solidFill>
              </a:rPr>
              <a:t>Měření spotřeby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55F827E9-509B-480F-BE1B-A0E53A963DE1}"/>
              </a:ext>
            </a:extLst>
          </p:cNvPr>
          <p:cNvSpPr txBox="1"/>
          <p:nvPr/>
        </p:nvSpPr>
        <p:spPr>
          <a:xfrm>
            <a:off x="3210118" y="672990"/>
            <a:ext cx="102143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350" dirty="0">
                <a:solidFill>
                  <a:schemeClr val="tx2"/>
                </a:solidFill>
              </a:rPr>
              <a:t>Přenos dat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12E5A099-26B0-436F-A929-F6DDD830E92D}"/>
              </a:ext>
            </a:extLst>
          </p:cNvPr>
          <p:cNvSpPr txBox="1"/>
          <p:nvPr/>
        </p:nvSpPr>
        <p:spPr>
          <a:xfrm>
            <a:off x="5021243" y="672990"/>
            <a:ext cx="169469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350" dirty="0">
                <a:solidFill>
                  <a:schemeClr val="tx2"/>
                </a:solidFill>
              </a:rPr>
              <a:t>Zpracování výstupů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4A26230-F344-4D1D-B6E4-96FB217944AC}"/>
              </a:ext>
            </a:extLst>
          </p:cNvPr>
          <p:cNvSpPr txBox="1"/>
          <p:nvPr/>
        </p:nvSpPr>
        <p:spPr>
          <a:xfrm>
            <a:off x="7005584" y="672990"/>
            <a:ext cx="142539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350" dirty="0">
                <a:solidFill>
                  <a:schemeClr val="tx2"/>
                </a:solidFill>
              </a:rPr>
              <a:t>Realizace úspor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6F6D4611-9F35-4892-8EDE-B6EF3EF127B9}"/>
              </a:ext>
            </a:extLst>
          </p:cNvPr>
          <p:cNvSpPr txBox="1"/>
          <p:nvPr/>
        </p:nvSpPr>
        <p:spPr>
          <a:xfrm>
            <a:off x="2684804" y="3048743"/>
            <a:ext cx="410773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350" dirty="0">
                <a:solidFill>
                  <a:schemeClr val="tx2"/>
                </a:solidFill>
              </a:rPr>
              <a:t>Zpětná vazba – Změna chování – Investice do technologií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A92A3B0F-B9C0-1D06-D796-981A7D54AE52}"/>
              </a:ext>
            </a:extLst>
          </p:cNvPr>
          <p:cNvGrpSpPr/>
          <p:nvPr/>
        </p:nvGrpSpPr>
        <p:grpSpPr>
          <a:xfrm>
            <a:off x="0" y="4063641"/>
            <a:ext cx="9144000" cy="607136"/>
            <a:chOff x="0" y="588629"/>
            <a:chExt cx="12192000" cy="809515"/>
          </a:xfrm>
        </p:grpSpPr>
        <p:pic>
          <p:nvPicPr>
            <p:cNvPr id="12" name="Obrázek 11">
              <a:extLst>
                <a:ext uri="{FF2B5EF4-FFF2-40B4-BE49-F238E27FC236}">
                  <a16:creationId xmlns:a16="http://schemas.microsoft.com/office/drawing/2014/main" id="{6751083F-9D6E-0D4B-62C9-7F643710A3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2887"/>
            <a:stretch/>
          </p:blipFill>
          <p:spPr>
            <a:xfrm>
              <a:off x="1217645" y="588629"/>
              <a:ext cx="10974355" cy="809515"/>
            </a:xfrm>
            <a:prstGeom prst="rect">
              <a:avLst/>
            </a:prstGeom>
          </p:spPr>
        </p:pic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B1A37364-F4BE-53DA-FABE-5BCFB2572F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588629"/>
              <a:ext cx="1392248" cy="8095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20130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E001DC5-AAD0-4091-9C00-DAA8F747E079}"/>
              </a:ext>
            </a:extLst>
          </p:cNvPr>
          <p:cNvSpPr/>
          <p:nvPr/>
        </p:nvSpPr>
        <p:spPr>
          <a:xfrm>
            <a:off x="0" y="786363"/>
            <a:ext cx="9144000" cy="3284725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0C27EEE-7E46-4910-A8C9-9A0F65DDCE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PROVOZ - Měření podmínek skladování</a:t>
            </a:r>
          </a:p>
          <a:p>
            <a:pPr defTabSz="457067">
              <a:lnSpc>
                <a:spcPct val="90000"/>
              </a:lnSpc>
              <a:spcBef>
                <a:spcPts val="675"/>
              </a:spcBef>
            </a:pPr>
            <a:r>
              <a:rPr lang="cs-CZ" sz="1200" dirty="0">
                <a:solidFill>
                  <a:schemeClr val="accent1">
                    <a:lumMod val="75000"/>
                  </a:schemeClr>
                </a:solidFill>
                <a:latin typeface="Gotham Rounded Book" pitchFamily="50" charset="-18"/>
              </a:rPr>
              <a:t>léčiv, potravin, archivního materiálu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D233E23-D289-4DDE-84D0-2DFCD77D06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608" y="786363"/>
            <a:ext cx="6697281" cy="328472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8FCB102-2754-47FD-B4BA-FD5110D70169}"/>
              </a:ext>
            </a:extLst>
          </p:cNvPr>
          <p:cNvSpPr/>
          <p:nvPr/>
        </p:nvSpPr>
        <p:spPr>
          <a:xfrm>
            <a:off x="1043608" y="779233"/>
            <a:ext cx="6702791" cy="3329449"/>
          </a:xfrm>
          <a:prstGeom prst="rect">
            <a:avLst/>
          </a:prstGeom>
          <a:solidFill>
            <a:srgbClr val="4D4D4D">
              <a:alpha val="3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A92A3B0F-B9C0-1D06-D796-981A7D54AE52}"/>
              </a:ext>
            </a:extLst>
          </p:cNvPr>
          <p:cNvGrpSpPr/>
          <p:nvPr/>
        </p:nvGrpSpPr>
        <p:grpSpPr>
          <a:xfrm>
            <a:off x="0" y="4063641"/>
            <a:ext cx="9144000" cy="607136"/>
            <a:chOff x="0" y="588629"/>
            <a:chExt cx="12192000" cy="809515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6751083F-9D6E-0D4B-62C9-7F643710A3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2887"/>
            <a:stretch/>
          </p:blipFill>
          <p:spPr>
            <a:xfrm>
              <a:off x="1217645" y="588629"/>
              <a:ext cx="10974355" cy="809515"/>
            </a:xfrm>
            <a:prstGeom prst="rect">
              <a:avLst/>
            </a:prstGeom>
          </p:spPr>
        </p:pic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A37364-F4BE-53DA-FABE-5BCFB2572F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588629"/>
              <a:ext cx="1392248" cy="8095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08542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0C27EEE-7E46-4910-A8C9-9A0F65DDCE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7004" y="322347"/>
            <a:ext cx="8371090" cy="413004"/>
          </a:xfrm>
        </p:spPr>
        <p:txBody>
          <a:bodyPr/>
          <a:lstStyle/>
          <a:p>
            <a:pPr defTabSz="342523"/>
            <a:r>
              <a:rPr lang="cs-CZ" sz="1500" b="0" cap="all" dirty="0" smtClean="0">
                <a:solidFill>
                  <a:schemeClr val="tx2"/>
                </a:solidFill>
                <a:latin typeface="Gotham Rounded Book" pitchFamily="50" charset="0"/>
              </a:rPr>
              <a:t>Provoz / životní prostředí - </a:t>
            </a:r>
            <a:r>
              <a:rPr lang="cs-CZ" sz="1600" b="0" cap="all" dirty="0">
                <a:solidFill>
                  <a:schemeClr val="accent1">
                    <a:lumMod val="75000"/>
                  </a:schemeClr>
                </a:solidFill>
                <a:latin typeface="Gotham Rounded Book" pitchFamily="50" charset="-18"/>
              </a:rPr>
              <a:t>Monitoring mikroklimatu uvnitř budov</a:t>
            </a:r>
          </a:p>
          <a:p>
            <a:pPr defTabSz="342523"/>
            <a:endParaRPr lang="cs-CZ" sz="1500" b="0" cap="all" dirty="0">
              <a:solidFill>
                <a:schemeClr val="tx2"/>
              </a:solidFill>
              <a:latin typeface="Gotham Rounded Book" pitchFamily="50" charset="0"/>
            </a:endParaRP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defTabSz="457067">
              <a:lnSpc>
                <a:spcPct val="90000"/>
              </a:lnSpc>
              <a:spcBef>
                <a:spcPts val="675"/>
              </a:spcBef>
            </a:pPr>
            <a:r>
              <a:rPr lang="cs-CZ" sz="1200" b="0" cap="all" dirty="0" smtClean="0">
                <a:solidFill>
                  <a:schemeClr val="accent1">
                    <a:lumMod val="75000"/>
                  </a:schemeClr>
                </a:solidFill>
                <a:latin typeface="Gotham Rounded Book" pitchFamily="50" charset="-18"/>
              </a:rPr>
              <a:t>Detekce nevyhovujících podmínek</a:t>
            </a:r>
            <a:endParaRPr lang="cs-CZ" sz="1200" b="0" cap="all" dirty="0">
              <a:solidFill>
                <a:schemeClr val="accent1">
                  <a:lumMod val="75000"/>
                </a:schemeClr>
              </a:solidFill>
              <a:latin typeface="Gotham Rounded Book" pitchFamily="50" charset="-18"/>
            </a:endParaRP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Info o zvýšených hladinách CO2, TVOC, vlhkost, prašnost … + návrh a realizace opatření</a:t>
            </a:r>
          </a:p>
          <a:p>
            <a:endParaRPr lang="cs-CZ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r>
              <a:rPr lang="cs-CZ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Potenciální uživatelé</a:t>
            </a:r>
          </a:p>
          <a:p>
            <a:pPr lvl="1"/>
            <a:r>
              <a:rPr lang="cs-CZ" dirty="0" smtClean="0">
                <a:solidFill>
                  <a:schemeClr val="bg1"/>
                </a:solidFill>
              </a:rPr>
              <a:t>Školy, školky, … </a:t>
            </a:r>
          </a:p>
          <a:p>
            <a:pPr lvl="1"/>
            <a:r>
              <a:rPr lang="cs-CZ" dirty="0" smtClean="0">
                <a:solidFill>
                  <a:schemeClr val="bg1"/>
                </a:solidFill>
              </a:rPr>
              <a:t>Nemocnice – lůžková oddělení</a:t>
            </a:r>
          </a:p>
          <a:p>
            <a:pPr lvl="1"/>
            <a:r>
              <a:rPr lang="cs-CZ" dirty="0" smtClean="0">
                <a:solidFill>
                  <a:schemeClr val="bg1"/>
                </a:solidFill>
              </a:rPr>
              <a:t>Domovy důchodců, domovy s pečovatelskou službou</a:t>
            </a:r>
          </a:p>
          <a:p>
            <a:pPr lvl="1"/>
            <a:r>
              <a:rPr lang="cs-CZ" dirty="0" smtClean="0">
                <a:solidFill>
                  <a:schemeClr val="bg1"/>
                </a:solidFill>
              </a:rPr>
              <a:t>Kulturní domy, kina, divadla, kostely</a:t>
            </a:r>
          </a:p>
          <a:p>
            <a:pPr marL="256484" lvl="1" indent="-256484"/>
            <a:r>
              <a:rPr lang="cs-CZ" sz="1425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Přínos</a:t>
            </a:r>
          </a:p>
          <a:p>
            <a:pPr lvl="1"/>
            <a:r>
              <a:rPr lang="cs-CZ" dirty="0" smtClean="0">
                <a:solidFill>
                  <a:schemeClr val="bg1"/>
                </a:solidFill>
              </a:rPr>
              <a:t>Detekce a alarm v případě nepříznivých podmínek</a:t>
            </a:r>
          </a:p>
          <a:p>
            <a:pPr lvl="1"/>
            <a:r>
              <a:rPr lang="cs-CZ" dirty="0" smtClean="0">
                <a:solidFill>
                  <a:schemeClr val="bg1"/>
                </a:solidFill>
              </a:rPr>
              <a:t>Sběr dat + alarm lokálně</a:t>
            </a:r>
          </a:p>
          <a:p>
            <a:pPr lvl="1"/>
            <a:r>
              <a:rPr lang="cs-CZ" dirty="0" smtClean="0">
                <a:solidFill>
                  <a:schemeClr val="bg1"/>
                </a:solidFill>
              </a:rPr>
              <a:t>Možno napojit na systémy pro dezinfekci prostor</a:t>
            </a:r>
          </a:p>
          <a:p>
            <a:pPr lvl="1"/>
            <a:r>
              <a:rPr lang="cs-CZ" dirty="0" smtClean="0">
                <a:solidFill>
                  <a:schemeClr val="bg1"/>
                </a:solidFill>
              </a:rPr>
              <a:t>Vizualizace a správa dat </a:t>
            </a:r>
          </a:p>
          <a:p>
            <a:pPr lvl="1"/>
            <a:r>
              <a:rPr lang="cs-CZ" dirty="0" smtClean="0">
                <a:solidFill>
                  <a:schemeClr val="bg1"/>
                </a:solidFill>
              </a:rPr>
              <a:t>Možnosti dalších integrací</a:t>
            </a:r>
            <a:endParaRPr lang="cs-CZ" dirty="0">
              <a:solidFill>
                <a:schemeClr val="bg1"/>
              </a:solidFill>
            </a:endParaRPr>
          </a:p>
          <a:p>
            <a:endParaRPr lang="cs-CZ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endParaRPr lang="cs-CZ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144" y="528849"/>
            <a:ext cx="2859011" cy="3805889"/>
          </a:xfrm>
          <a:prstGeom prst="rect">
            <a:avLst/>
          </a:prstGeom>
        </p:spPr>
      </p:pic>
      <p:grpSp>
        <p:nvGrpSpPr>
          <p:cNvPr id="6" name="Skupina 5">
            <a:extLst>
              <a:ext uri="{FF2B5EF4-FFF2-40B4-BE49-F238E27FC236}">
                <a16:creationId xmlns:a16="http://schemas.microsoft.com/office/drawing/2014/main" id="{A92A3B0F-B9C0-1D06-D796-981A7D54AE52}"/>
              </a:ext>
            </a:extLst>
          </p:cNvPr>
          <p:cNvGrpSpPr/>
          <p:nvPr/>
        </p:nvGrpSpPr>
        <p:grpSpPr>
          <a:xfrm>
            <a:off x="0" y="4536364"/>
            <a:ext cx="9144000" cy="607136"/>
            <a:chOff x="0" y="588629"/>
            <a:chExt cx="12192000" cy="809515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6751083F-9D6E-0D4B-62C9-7F643710A3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2887"/>
            <a:stretch/>
          </p:blipFill>
          <p:spPr>
            <a:xfrm>
              <a:off x="1217645" y="588629"/>
              <a:ext cx="10974355" cy="809515"/>
            </a:xfrm>
            <a:prstGeom prst="rect">
              <a:avLst/>
            </a:prstGeom>
          </p:spPr>
        </p:pic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A37364-F4BE-53DA-FABE-5BCFB2572F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588629"/>
              <a:ext cx="1392248" cy="8095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868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6155" y="2847842"/>
            <a:ext cx="8371183" cy="900236"/>
          </a:xfrm>
        </p:spPr>
        <p:txBody>
          <a:bodyPr/>
          <a:lstStyle/>
          <a:p>
            <a:r>
              <a:rPr lang="cs-CZ" dirty="0" smtClean="0"/>
              <a:t>Děkujeme za pozornost</a:t>
            </a:r>
            <a:br>
              <a:rPr lang="cs-CZ" dirty="0" smtClean="0"/>
            </a:br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Více informací </a:t>
            </a:r>
            <a:r>
              <a:rPr lang="cs-CZ" dirty="0" smtClean="0">
                <a:solidFill>
                  <a:schemeClr val="tx2"/>
                </a:solidFill>
              </a:rPr>
              <a:t>a speciální akce </a:t>
            </a:r>
            <a:r>
              <a:rPr lang="cs-CZ" dirty="0" smtClean="0"/>
              <a:t>na stánk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114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ntenaNSK">
            <a:hlinkClick r:id="" action="ppaction://media"/>
            <a:extLst>
              <a:ext uri="{FF2B5EF4-FFF2-40B4-BE49-F238E27FC236}">
                <a16:creationId xmlns:a16="http://schemas.microsoft.com/office/drawing/2014/main" id="{5C5ECE14-769A-4895-A76F-5B9B06CB8E7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932041" y="1851669"/>
            <a:ext cx="1478400" cy="11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7380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 advClick="0" advTm="0">
        <p159:morph option="byObject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612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AE3A0A9-6F0D-4D5A-AAF6-B10D431ECC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76056" y="1635646"/>
            <a:ext cx="3852000" cy="471378"/>
          </a:xfrm>
        </p:spPr>
        <p:txBody>
          <a:bodyPr/>
          <a:lstStyle/>
          <a:p>
            <a:r>
              <a:rPr lang="cs-CZ" dirty="0" smtClean="0"/>
              <a:t>Internet věcí v pojetí CRA</a:t>
            </a:r>
            <a:endParaRPr lang="cs-CZ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5BD1DFA-87E1-4114-91FE-CA6333794E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48056" y="3111823"/>
            <a:ext cx="2880000" cy="216000"/>
          </a:xfrm>
        </p:spPr>
        <p:txBody>
          <a:bodyPr/>
          <a:lstStyle/>
          <a:p>
            <a:r>
              <a:rPr lang="cs-CZ" dirty="0" smtClean="0"/>
              <a:t>16.6.2021</a:t>
            </a:r>
            <a:endParaRPr lang="cs-CZ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093F46-C5CD-410D-BB2E-7CE9355C7B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83968" y="2176820"/>
            <a:ext cx="4752528" cy="272637"/>
          </a:xfrm>
        </p:spPr>
        <p:txBody>
          <a:bodyPr/>
          <a:lstStyle/>
          <a:p>
            <a:r>
              <a:rPr lang="cs-CZ" dirty="0" smtClean="0"/>
              <a:t>Od infrastruktury po komplexní řešení</a:t>
            </a:r>
          </a:p>
          <a:p>
            <a:r>
              <a:rPr lang="cs-CZ" dirty="0" smtClean="0"/>
              <a:t>- &gt; Pro obce a města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95805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101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5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701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8" grpId="0" build="p"/>
      <p:bldP spid="5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Internet </a:t>
            </a:r>
            <a:r>
              <a:rPr lang="cs-CZ" dirty="0"/>
              <a:t>věcí </a:t>
            </a:r>
            <a:r>
              <a:rPr lang="cs-CZ" dirty="0" smtClean="0"/>
              <a:t>(IOT)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 smtClean="0">
                <a:solidFill>
                  <a:schemeClr val="bg1"/>
                </a:solidFill>
                <a:latin typeface="Gotham Rounded Book" pitchFamily="50" charset="-18"/>
              </a:rPr>
              <a:t>Co to vlastně je?</a:t>
            </a:r>
            <a:endParaRPr lang="en-US" dirty="0">
              <a:solidFill>
                <a:schemeClr val="bg1"/>
              </a:solidFill>
              <a:latin typeface="Gotham Rounded Book" pitchFamily="50" charset="-18"/>
            </a:endParaRP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 smtClean="0"/>
              <a:t>Přenos senzorických dat na velké vzdálenosti</a:t>
            </a:r>
          </a:p>
          <a:p>
            <a:pPr marL="0" indent="0">
              <a:buNone/>
            </a:pPr>
            <a:endParaRPr lang="cs-CZ" dirty="0" smtClean="0"/>
          </a:p>
          <a:p>
            <a:r>
              <a:rPr lang="cs-CZ" dirty="0" smtClean="0"/>
              <a:t>Nízká energetická náročnost (baterie)</a:t>
            </a:r>
          </a:p>
          <a:p>
            <a:pPr marL="0" indent="0">
              <a:buNone/>
            </a:pPr>
            <a:endParaRPr lang="cs-CZ" dirty="0" smtClean="0"/>
          </a:p>
          <a:p>
            <a:r>
              <a:rPr lang="cs-CZ" dirty="0" smtClean="0"/>
              <a:t>Dlouhá životnost senzorů (roky)</a:t>
            </a:r>
          </a:p>
          <a:p>
            <a:pPr marL="0" indent="0">
              <a:buNone/>
            </a:pPr>
            <a:endParaRPr lang="cs-CZ" dirty="0" smtClean="0"/>
          </a:p>
          <a:p>
            <a:r>
              <a:rPr lang="cs-CZ" dirty="0" smtClean="0"/>
              <a:t>Zabezpečený přenos</a:t>
            </a:r>
          </a:p>
          <a:p>
            <a:endParaRPr lang="cs-CZ" dirty="0"/>
          </a:p>
          <a:p>
            <a:r>
              <a:rPr lang="cs-CZ" dirty="0" smtClean="0"/>
              <a:t>Ekosystém výrobců zařízení a aplikací</a:t>
            </a:r>
          </a:p>
          <a:p>
            <a:endParaRPr lang="cs-CZ" dirty="0"/>
          </a:p>
        </p:txBody>
      </p:sp>
      <p:pic>
        <p:nvPicPr>
          <p:cNvPr id="2050" name="Picture 2" descr="VÃ½sledek obrÃ¡zku pro lorawan"/>
          <p:cNvPicPr>
            <a:picLocks noChangeAspect="1" noChangeArrowheads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2" y="3542160"/>
            <a:ext cx="3997226" cy="1292438"/>
          </a:xfrm>
          <a:prstGeom prst="rect">
            <a:avLst/>
          </a:prstGeom>
          <a:noFill/>
          <a:effectLst>
            <a:glow rad="63500">
              <a:schemeClr val="accent4">
                <a:satMod val="175000"/>
                <a:alpha val="40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Diagram 7"/>
          <p:cNvGraphicFramePr/>
          <p:nvPr>
            <p:extLst/>
          </p:nvPr>
        </p:nvGraphicFramePr>
        <p:xfrm>
          <a:off x="467544" y="1189351"/>
          <a:ext cx="3843747" cy="32960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584225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68EFC08-3060-4C8E-BE4E-E8BB0BB67034}"/>
              </a:ext>
            </a:extLst>
          </p:cNvPr>
          <p:cNvSpPr/>
          <p:nvPr/>
        </p:nvSpPr>
        <p:spPr>
          <a:xfrm>
            <a:off x="2075836" y="1109422"/>
            <a:ext cx="2340000" cy="1373636"/>
          </a:xfrm>
          <a:prstGeom prst="roundRect">
            <a:avLst>
              <a:gd name="adj" fmla="val 6792"/>
            </a:avLst>
          </a:prstGeom>
          <a:solidFill>
            <a:srgbClr val="686F71"/>
          </a:solidFill>
          <a:ln w="38100">
            <a:solidFill>
              <a:srgbClr val="CCCCCC"/>
            </a:solidFill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8F83B1F-3692-44CA-AAE8-330710252D4F}"/>
              </a:ext>
            </a:extLst>
          </p:cNvPr>
          <p:cNvSpPr/>
          <p:nvPr/>
        </p:nvSpPr>
        <p:spPr>
          <a:xfrm>
            <a:off x="4740500" y="1109422"/>
            <a:ext cx="2340000" cy="1373636"/>
          </a:xfrm>
          <a:prstGeom prst="roundRect">
            <a:avLst>
              <a:gd name="adj" fmla="val 6792"/>
            </a:avLst>
          </a:prstGeom>
          <a:solidFill>
            <a:srgbClr val="686F71"/>
          </a:solidFill>
          <a:ln w="38100">
            <a:solidFill>
              <a:srgbClr val="CCCCCC"/>
            </a:solidFill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tx1"/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3A977E6-02E0-492E-B4CC-87FEAD1CD43E}"/>
              </a:ext>
            </a:extLst>
          </p:cNvPr>
          <p:cNvGrpSpPr/>
          <p:nvPr/>
        </p:nvGrpSpPr>
        <p:grpSpPr>
          <a:xfrm>
            <a:off x="2054560" y="2946858"/>
            <a:ext cx="5004664" cy="1381705"/>
            <a:chOff x="1871592" y="992969"/>
            <a:chExt cx="5004664" cy="1381705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7F5208B6-0A6A-4F02-9D7C-DC914523E442}"/>
                </a:ext>
              </a:extLst>
            </p:cNvPr>
            <p:cNvSpPr/>
            <p:nvPr/>
          </p:nvSpPr>
          <p:spPr>
            <a:xfrm>
              <a:off x="1871592" y="1001038"/>
              <a:ext cx="2340000" cy="1373636"/>
            </a:xfrm>
            <a:prstGeom prst="roundRect">
              <a:avLst>
                <a:gd name="adj" fmla="val 6792"/>
              </a:avLst>
            </a:prstGeom>
            <a:solidFill>
              <a:srgbClr val="686F71"/>
            </a:solidFill>
            <a:ln w="38100">
              <a:solidFill>
                <a:srgbClr val="CCCCCC"/>
              </a:solidFill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52D1A813-55FB-4901-B230-73A5F5AFF56B}"/>
                </a:ext>
              </a:extLst>
            </p:cNvPr>
            <p:cNvSpPr/>
            <p:nvPr/>
          </p:nvSpPr>
          <p:spPr>
            <a:xfrm>
              <a:off x="4536256" y="992969"/>
              <a:ext cx="2340000" cy="1373636"/>
            </a:xfrm>
            <a:prstGeom prst="roundRect">
              <a:avLst>
                <a:gd name="adj" fmla="val 6792"/>
              </a:avLst>
            </a:prstGeom>
            <a:solidFill>
              <a:srgbClr val="686F71"/>
            </a:solidFill>
            <a:ln w="38100">
              <a:solidFill>
                <a:srgbClr val="CCCCCC"/>
              </a:solidFill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solidFill>
                  <a:schemeClr val="tx1"/>
                </a:solidFill>
              </a:endParaRPr>
            </a:p>
          </p:txBody>
        </p:sp>
      </p:grpSp>
      <p:sp>
        <p:nvSpPr>
          <p:cNvPr id="14" name="Teardrop 13">
            <a:extLst>
              <a:ext uri="{FF2B5EF4-FFF2-40B4-BE49-F238E27FC236}">
                <a16:creationId xmlns:a16="http://schemas.microsoft.com/office/drawing/2014/main" id="{8F7C2352-82E5-442A-9763-AB5D3E48AA68}"/>
              </a:ext>
            </a:extLst>
          </p:cNvPr>
          <p:cNvSpPr/>
          <p:nvPr/>
        </p:nvSpPr>
        <p:spPr>
          <a:xfrm rot="2700000">
            <a:off x="560457" y="1092093"/>
            <a:ext cx="1393150" cy="1393150"/>
          </a:xfrm>
          <a:prstGeom prst="teardrop">
            <a:avLst/>
          </a:prstGeom>
          <a:solidFill>
            <a:schemeClr val="accent4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pic>
        <p:nvPicPr>
          <p:cNvPr id="1026" name="Picture 2" descr="VÃ½sledek obrÃ¡zku pro smart metering"/>
          <p:cNvPicPr>
            <a:picLocks noChangeArrowheads="1"/>
          </p:cNvPicPr>
          <p:nvPr/>
        </p:nvPicPr>
        <p:blipFill rotWithShape="1"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8" r="7575" b="8401"/>
          <a:stretch/>
        </p:blipFill>
        <p:spPr bwMode="auto">
          <a:xfrm>
            <a:off x="631080" y="1160337"/>
            <a:ext cx="1245600" cy="12456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ástupný symbol pro text 1"/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 anchor="b"/>
          <a:lstStyle/>
          <a:p>
            <a:r>
              <a:rPr lang="en-US" dirty="0" err="1">
                <a:latin typeface="Gotham Rounded Book" pitchFamily="50" charset="-18"/>
              </a:rPr>
              <a:t>Benefity</a:t>
            </a:r>
            <a:r>
              <a:rPr lang="en-US" dirty="0">
                <a:latin typeface="Gotham Rounded Book" pitchFamily="50" charset="-18"/>
              </a:rPr>
              <a:t> </a:t>
            </a:r>
            <a:r>
              <a:rPr lang="en-US" dirty="0" smtClean="0">
                <a:latin typeface="Gotham Rounded Book" pitchFamily="50" charset="-18"/>
              </a:rPr>
              <a:t>IoT </a:t>
            </a:r>
            <a:r>
              <a:rPr lang="en-US" dirty="0">
                <a:latin typeface="Gotham Rounded Book" pitchFamily="50" charset="-18"/>
              </a:rPr>
              <a:t>pro </a:t>
            </a:r>
            <a:r>
              <a:rPr lang="en-US" dirty="0" err="1">
                <a:latin typeface="Gotham Rounded Book" pitchFamily="50" charset="-18"/>
              </a:rPr>
              <a:t>koncového</a:t>
            </a:r>
            <a:r>
              <a:rPr lang="en-US" dirty="0">
                <a:latin typeface="Gotham Rounded Book" pitchFamily="50" charset="-18"/>
              </a:rPr>
              <a:t> </a:t>
            </a:r>
            <a:r>
              <a:rPr lang="en-US" dirty="0" err="1">
                <a:latin typeface="Gotham Rounded Book" pitchFamily="50" charset="-18"/>
              </a:rPr>
              <a:t>uživatele</a:t>
            </a:r>
            <a:endParaRPr lang="en-US" dirty="0">
              <a:latin typeface="Gotham Rounded Book" pitchFamily="50" charset="-18"/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4663590" y="1490749"/>
            <a:ext cx="20310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tx2"/>
                </a:solidFill>
                <a:latin typeface="Gotham Rounded Book" pitchFamily="50" charset="-18"/>
              </a:defRPr>
            </a:lvl1pPr>
          </a:lstStyle>
          <a:p>
            <a:pPr algn="r"/>
            <a:r>
              <a:rPr lang="cs-CZ" dirty="0">
                <a:solidFill>
                  <a:schemeClr val="bg1">
                    <a:lumMod val="95000"/>
                  </a:schemeClr>
                </a:solidFill>
              </a:rPr>
              <a:t>Dohled nad majetkem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8" name="TextovéPole 7"/>
          <p:cNvSpPr txBox="1"/>
          <p:nvPr/>
        </p:nvSpPr>
        <p:spPr>
          <a:xfrm>
            <a:off x="2295918" y="1503852"/>
            <a:ext cx="23271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tx2"/>
                </a:solidFill>
                <a:latin typeface="Gotham Rounded Book" pitchFamily="50" charset="-18"/>
              </a:defRPr>
            </a:lvl1pPr>
          </a:lstStyle>
          <a:p>
            <a:r>
              <a:rPr lang="cs-CZ" dirty="0">
                <a:solidFill>
                  <a:schemeClr val="bg1">
                    <a:lumMod val="95000"/>
                  </a:schemeClr>
                </a:solidFill>
              </a:rPr>
              <a:t>Optimalizace nákladů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1" name="TextovéPole 10"/>
          <p:cNvSpPr txBox="1"/>
          <p:nvPr/>
        </p:nvSpPr>
        <p:spPr>
          <a:xfrm>
            <a:off x="4456455" y="3354392"/>
            <a:ext cx="23839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tx2"/>
                </a:solidFill>
                <a:latin typeface="Gotham Rounded Book" pitchFamily="50" charset="-18"/>
              </a:defRPr>
            </a:lvl1pPr>
          </a:lstStyle>
          <a:p>
            <a:pPr algn="r"/>
            <a:r>
              <a:rPr lang="cs-CZ" dirty="0">
                <a:solidFill>
                  <a:schemeClr val="bg1">
                    <a:lumMod val="95000"/>
                  </a:schemeClr>
                </a:solidFill>
              </a:rPr>
              <a:t>Zvýšení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</a:rPr>
            </a:br>
            <a:r>
              <a:rPr lang="cs-CZ" dirty="0">
                <a:solidFill>
                  <a:schemeClr val="bg1">
                    <a:lumMod val="95000"/>
                  </a:schemeClr>
                </a:solidFill>
              </a:rPr>
              <a:t>bezpečnosti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2258177" y="3341288"/>
            <a:ext cx="23839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tx2"/>
                </a:solidFill>
                <a:latin typeface="Gotham Rounded Book" pitchFamily="50" charset="-18"/>
              </a:defRPr>
            </a:lvl1pPr>
          </a:lstStyle>
          <a:p>
            <a:r>
              <a:rPr lang="cs-CZ" dirty="0">
                <a:solidFill>
                  <a:schemeClr val="bg1">
                    <a:lumMod val="95000"/>
                  </a:schemeClr>
                </a:solidFill>
              </a:rPr>
              <a:t>Zvýšení komfortu života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3" name="Teardrop 22">
            <a:extLst>
              <a:ext uri="{FF2B5EF4-FFF2-40B4-BE49-F238E27FC236}">
                <a16:creationId xmlns:a16="http://schemas.microsoft.com/office/drawing/2014/main" id="{FA7DD233-53E4-429F-9032-78EC61B027F1}"/>
              </a:ext>
            </a:extLst>
          </p:cNvPr>
          <p:cNvSpPr/>
          <p:nvPr/>
        </p:nvSpPr>
        <p:spPr>
          <a:xfrm rot="18900000" flipH="1">
            <a:off x="7190393" y="1099665"/>
            <a:ext cx="1393150" cy="1393150"/>
          </a:xfrm>
          <a:prstGeom prst="teardrop">
            <a:avLst/>
          </a:prstGeom>
          <a:solidFill>
            <a:schemeClr val="accent4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pic>
        <p:nvPicPr>
          <p:cNvPr id="1028" name="Picture 4" descr="VÃ½sledek obrÃ¡zku pro alarm"/>
          <p:cNvPicPr>
            <a:picLocks noChangeArrowheads="1"/>
          </p:cNvPicPr>
          <p:nvPr/>
        </p:nvPicPr>
        <p:blipFill rotWithShape="1"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74" t="10650" r="10515" b="12154"/>
          <a:stretch/>
        </p:blipFill>
        <p:spPr bwMode="auto">
          <a:xfrm>
            <a:off x="7264168" y="1173440"/>
            <a:ext cx="1245600" cy="12456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ardrop 17">
            <a:extLst>
              <a:ext uri="{FF2B5EF4-FFF2-40B4-BE49-F238E27FC236}">
                <a16:creationId xmlns:a16="http://schemas.microsoft.com/office/drawing/2014/main" id="{E97044EA-D431-4674-806C-F0E243144E25}"/>
              </a:ext>
            </a:extLst>
          </p:cNvPr>
          <p:cNvSpPr/>
          <p:nvPr/>
        </p:nvSpPr>
        <p:spPr>
          <a:xfrm rot="2700000">
            <a:off x="566110" y="2945170"/>
            <a:ext cx="1393150" cy="1393150"/>
          </a:xfrm>
          <a:prstGeom prst="teardrop">
            <a:avLst/>
          </a:prstGeom>
          <a:solidFill>
            <a:schemeClr val="accent4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9" name="Teardrop 28">
            <a:extLst>
              <a:ext uri="{FF2B5EF4-FFF2-40B4-BE49-F238E27FC236}">
                <a16:creationId xmlns:a16="http://schemas.microsoft.com/office/drawing/2014/main" id="{8C6D4A63-E676-45F8-ABFA-C7C9846E4283}"/>
              </a:ext>
            </a:extLst>
          </p:cNvPr>
          <p:cNvSpPr/>
          <p:nvPr/>
        </p:nvSpPr>
        <p:spPr>
          <a:xfrm rot="18900000" flipH="1">
            <a:off x="7190393" y="2946858"/>
            <a:ext cx="1393150" cy="1393150"/>
          </a:xfrm>
          <a:prstGeom prst="teardrop">
            <a:avLst/>
          </a:prstGeom>
          <a:solidFill>
            <a:schemeClr val="accent4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pic>
        <p:nvPicPr>
          <p:cNvPr id="31" name="Obrázek 2">
            <a:extLst>
              <a:ext uri="{FF2B5EF4-FFF2-40B4-BE49-F238E27FC236}">
                <a16:creationId xmlns:a16="http://schemas.microsoft.com/office/drawing/2014/main" id="{0E94468D-1784-48F0-9CF0-834ADA4793BB}"/>
              </a:ext>
            </a:extLst>
          </p:cNvPr>
          <p:cNvPicPr>
            <a:picLocks/>
          </p:cNvPicPr>
          <p:nvPr/>
        </p:nvPicPr>
        <p:blipFill rotWithShape="1"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94" r="6624"/>
          <a:stretch/>
        </p:blipFill>
        <p:spPr>
          <a:xfrm>
            <a:off x="646628" y="3020633"/>
            <a:ext cx="1245600" cy="1245600"/>
          </a:xfrm>
          <a:prstGeom prst="ellipse">
            <a:avLst/>
          </a:prstGeom>
        </p:spPr>
      </p:pic>
      <p:pic>
        <p:nvPicPr>
          <p:cNvPr id="32" name="Obrázek 3">
            <a:extLst>
              <a:ext uri="{FF2B5EF4-FFF2-40B4-BE49-F238E27FC236}">
                <a16:creationId xmlns:a16="http://schemas.microsoft.com/office/drawing/2014/main" id="{0A843BFE-867A-4B89-BE3B-FCA67A421655}"/>
              </a:ext>
            </a:extLst>
          </p:cNvPr>
          <p:cNvPicPr>
            <a:picLocks/>
          </p:cNvPicPr>
          <p:nvPr/>
        </p:nvPicPr>
        <p:blipFill rotWithShape="1">
          <a:blip r:embed="rId5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85" r="8896"/>
          <a:stretch/>
        </p:blipFill>
        <p:spPr>
          <a:xfrm>
            <a:off x="7264168" y="3014326"/>
            <a:ext cx="1245600" cy="12456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515682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68EFC08-3060-4C8E-BE4E-E8BB0BB67034}"/>
              </a:ext>
            </a:extLst>
          </p:cNvPr>
          <p:cNvSpPr/>
          <p:nvPr/>
        </p:nvSpPr>
        <p:spPr>
          <a:xfrm>
            <a:off x="2075836" y="1109422"/>
            <a:ext cx="2340000" cy="1373636"/>
          </a:xfrm>
          <a:prstGeom prst="roundRect">
            <a:avLst>
              <a:gd name="adj" fmla="val 6792"/>
            </a:avLst>
          </a:prstGeom>
          <a:solidFill>
            <a:srgbClr val="686F71"/>
          </a:solidFill>
          <a:ln w="38100">
            <a:solidFill>
              <a:srgbClr val="CCCCCC"/>
            </a:solidFill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8F83B1F-3692-44CA-AAE8-330710252D4F}"/>
              </a:ext>
            </a:extLst>
          </p:cNvPr>
          <p:cNvSpPr/>
          <p:nvPr/>
        </p:nvSpPr>
        <p:spPr>
          <a:xfrm>
            <a:off x="4740500" y="1109422"/>
            <a:ext cx="2340000" cy="1373636"/>
          </a:xfrm>
          <a:prstGeom prst="roundRect">
            <a:avLst>
              <a:gd name="adj" fmla="val 6792"/>
            </a:avLst>
          </a:prstGeom>
          <a:solidFill>
            <a:srgbClr val="686F71"/>
          </a:solidFill>
          <a:ln w="38100">
            <a:solidFill>
              <a:srgbClr val="CCCCCC"/>
            </a:solidFill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tx1"/>
              </a:solidFill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3A977E6-02E0-492E-B4CC-87FEAD1CD43E}"/>
              </a:ext>
            </a:extLst>
          </p:cNvPr>
          <p:cNvGrpSpPr/>
          <p:nvPr/>
        </p:nvGrpSpPr>
        <p:grpSpPr>
          <a:xfrm>
            <a:off x="2054560" y="2946858"/>
            <a:ext cx="5004664" cy="1381705"/>
            <a:chOff x="1871592" y="992969"/>
            <a:chExt cx="5004664" cy="1381705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7F5208B6-0A6A-4F02-9D7C-DC914523E442}"/>
                </a:ext>
              </a:extLst>
            </p:cNvPr>
            <p:cNvSpPr/>
            <p:nvPr/>
          </p:nvSpPr>
          <p:spPr>
            <a:xfrm>
              <a:off x="1871592" y="1001038"/>
              <a:ext cx="2340000" cy="1373636"/>
            </a:xfrm>
            <a:prstGeom prst="roundRect">
              <a:avLst>
                <a:gd name="adj" fmla="val 6792"/>
              </a:avLst>
            </a:prstGeom>
            <a:solidFill>
              <a:srgbClr val="686F71"/>
            </a:solidFill>
            <a:ln w="38100">
              <a:solidFill>
                <a:srgbClr val="CCCCCC"/>
              </a:solidFill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solidFill>
                  <a:schemeClr val="tx1"/>
                </a:solidFill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52D1A813-55FB-4901-B230-73A5F5AFF56B}"/>
                </a:ext>
              </a:extLst>
            </p:cNvPr>
            <p:cNvSpPr/>
            <p:nvPr/>
          </p:nvSpPr>
          <p:spPr>
            <a:xfrm>
              <a:off x="4536256" y="992969"/>
              <a:ext cx="2340000" cy="1373636"/>
            </a:xfrm>
            <a:prstGeom prst="roundRect">
              <a:avLst>
                <a:gd name="adj" fmla="val 6792"/>
              </a:avLst>
            </a:prstGeom>
            <a:solidFill>
              <a:srgbClr val="686F71"/>
            </a:solidFill>
            <a:ln w="38100">
              <a:solidFill>
                <a:srgbClr val="CCCCCC"/>
              </a:solidFill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>
                <a:solidFill>
                  <a:schemeClr val="tx1"/>
                </a:solidFill>
              </a:endParaRPr>
            </a:p>
          </p:txBody>
        </p:sp>
      </p:grpSp>
      <p:sp>
        <p:nvSpPr>
          <p:cNvPr id="14" name="Teardrop 13">
            <a:extLst>
              <a:ext uri="{FF2B5EF4-FFF2-40B4-BE49-F238E27FC236}">
                <a16:creationId xmlns:a16="http://schemas.microsoft.com/office/drawing/2014/main" id="{8F7C2352-82E5-442A-9763-AB5D3E48AA68}"/>
              </a:ext>
            </a:extLst>
          </p:cNvPr>
          <p:cNvSpPr/>
          <p:nvPr/>
        </p:nvSpPr>
        <p:spPr>
          <a:xfrm rot="2700000">
            <a:off x="560457" y="1092093"/>
            <a:ext cx="1393150" cy="1393150"/>
          </a:xfrm>
          <a:prstGeom prst="teardrop">
            <a:avLst/>
          </a:prstGeom>
          <a:solidFill>
            <a:schemeClr val="accent4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pic>
        <p:nvPicPr>
          <p:cNvPr id="1026" name="Picture 2" descr="VÃ½sledek obrÃ¡zku pro smart metering"/>
          <p:cNvPicPr>
            <a:picLocks noChangeArrowheads="1"/>
          </p:cNvPicPr>
          <p:nvPr/>
        </p:nvPicPr>
        <p:blipFill rotWithShape="1"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8" r="7575" b="8401"/>
          <a:stretch/>
        </p:blipFill>
        <p:spPr bwMode="auto">
          <a:xfrm>
            <a:off x="631080" y="1160337"/>
            <a:ext cx="1245600" cy="12456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ástupný symbol pro text 1"/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 anchor="b"/>
          <a:lstStyle/>
          <a:p>
            <a:r>
              <a:rPr lang="cs-CZ" dirty="0" smtClean="0">
                <a:latin typeface="Gotham Rounded Book" pitchFamily="50" charset="-18"/>
              </a:rPr>
              <a:t>IoT </a:t>
            </a:r>
            <a:r>
              <a:rPr lang="cs-CZ" dirty="0">
                <a:latin typeface="Gotham Rounded Book" pitchFamily="50" charset="-18"/>
              </a:rPr>
              <a:t>z pohledu správce / uživatele technologií - města</a:t>
            </a:r>
            <a:endParaRPr lang="en-US" dirty="0">
              <a:latin typeface="Gotham Rounded Book" pitchFamily="50" charset="-18"/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4663590" y="1490749"/>
            <a:ext cx="20310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tx2"/>
                </a:solidFill>
                <a:latin typeface="Gotham Rounded Book" pitchFamily="50" charset="-18"/>
              </a:defRPr>
            </a:lvl1pPr>
          </a:lstStyle>
          <a:p>
            <a:pPr algn="r"/>
            <a:r>
              <a:rPr lang="cs-CZ" dirty="0">
                <a:solidFill>
                  <a:schemeClr val="bg1">
                    <a:lumMod val="95000"/>
                  </a:schemeClr>
                </a:solidFill>
              </a:rPr>
              <a:t>Dohled nad majetkem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8" name="TextovéPole 7"/>
          <p:cNvSpPr txBox="1"/>
          <p:nvPr/>
        </p:nvSpPr>
        <p:spPr>
          <a:xfrm>
            <a:off x="2295918" y="1503852"/>
            <a:ext cx="23271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tx2"/>
                </a:solidFill>
                <a:latin typeface="Gotham Rounded Book" pitchFamily="50" charset="-18"/>
              </a:defRPr>
            </a:lvl1pPr>
          </a:lstStyle>
          <a:p>
            <a:r>
              <a:rPr lang="cs-CZ" dirty="0">
                <a:solidFill>
                  <a:schemeClr val="bg1">
                    <a:lumMod val="95000"/>
                  </a:schemeClr>
                </a:solidFill>
              </a:rPr>
              <a:t>Optimalizace nákladů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1" name="TextovéPole 10"/>
          <p:cNvSpPr txBox="1"/>
          <p:nvPr/>
        </p:nvSpPr>
        <p:spPr>
          <a:xfrm>
            <a:off x="4456455" y="3354392"/>
            <a:ext cx="23839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tx2"/>
                </a:solidFill>
                <a:latin typeface="Gotham Rounded Book" pitchFamily="50" charset="-18"/>
              </a:defRPr>
            </a:lvl1pPr>
          </a:lstStyle>
          <a:p>
            <a:pPr algn="r"/>
            <a:r>
              <a:rPr lang="cs-CZ" dirty="0">
                <a:solidFill>
                  <a:schemeClr val="bg1">
                    <a:lumMod val="95000"/>
                  </a:schemeClr>
                </a:solidFill>
              </a:rPr>
              <a:t>Optimalizace provozu města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2258177" y="3341288"/>
            <a:ext cx="23839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tx2"/>
                </a:solidFill>
                <a:latin typeface="Gotham Rounded Book" pitchFamily="50" charset="-18"/>
              </a:defRPr>
            </a:lvl1pPr>
          </a:lstStyle>
          <a:p>
            <a:r>
              <a:rPr lang="cs-CZ" dirty="0">
                <a:solidFill>
                  <a:schemeClr val="bg1">
                    <a:lumMod val="95000"/>
                  </a:schemeClr>
                </a:solidFill>
              </a:rPr>
              <a:t>Zvýšení komfortu života občanů</a:t>
            </a: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3" name="Teardrop 22">
            <a:extLst>
              <a:ext uri="{FF2B5EF4-FFF2-40B4-BE49-F238E27FC236}">
                <a16:creationId xmlns:a16="http://schemas.microsoft.com/office/drawing/2014/main" id="{FA7DD233-53E4-429F-9032-78EC61B027F1}"/>
              </a:ext>
            </a:extLst>
          </p:cNvPr>
          <p:cNvSpPr/>
          <p:nvPr/>
        </p:nvSpPr>
        <p:spPr>
          <a:xfrm rot="18900000" flipH="1">
            <a:off x="7190393" y="1099665"/>
            <a:ext cx="1393150" cy="1393150"/>
          </a:xfrm>
          <a:prstGeom prst="teardrop">
            <a:avLst/>
          </a:prstGeom>
          <a:solidFill>
            <a:schemeClr val="accent4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pic>
        <p:nvPicPr>
          <p:cNvPr id="1028" name="Picture 4" descr="VÃ½sledek obrÃ¡zku pro alarm"/>
          <p:cNvPicPr>
            <a:picLocks noChangeArrowheads="1"/>
          </p:cNvPicPr>
          <p:nvPr/>
        </p:nvPicPr>
        <p:blipFill rotWithShape="1"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74" t="10650" r="10515" b="12154"/>
          <a:stretch/>
        </p:blipFill>
        <p:spPr bwMode="auto">
          <a:xfrm>
            <a:off x="7264168" y="1173440"/>
            <a:ext cx="1245600" cy="124560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0D8A7952-C220-4B6E-8833-72BC97992442}"/>
              </a:ext>
            </a:extLst>
          </p:cNvPr>
          <p:cNvGrpSpPr/>
          <p:nvPr/>
        </p:nvGrpSpPr>
        <p:grpSpPr>
          <a:xfrm>
            <a:off x="566110" y="2945170"/>
            <a:ext cx="1393150" cy="1393150"/>
            <a:chOff x="741684" y="2991268"/>
            <a:chExt cx="1393150" cy="1393150"/>
          </a:xfrm>
        </p:grpSpPr>
        <p:sp>
          <p:nvSpPr>
            <p:cNvPr id="18" name="Teardrop 17">
              <a:extLst>
                <a:ext uri="{FF2B5EF4-FFF2-40B4-BE49-F238E27FC236}">
                  <a16:creationId xmlns:a16="http://schemas.microsoft.com/office/drawing/2014/main" id="{E97044EA-D431-4674-806C-F0E243144E25}"/>
                </a:ext>
              </a:extLst>
            </p:cNvPr>
            <p:cNvSpPr/>
            <p:nvPr/>
          </p:nvSpPr>
          <p:spPr>
            <a:xfrm rot="2700000">
              <a:off x="741684" y="2991268"/>
              <a:ext cx="1393150" cy="1393150"/>
            </a:xfrm>
            <a:prstGeom prst="teardrop">
              <a:avLst/>
            </a:prstGeom>
            <a:solidFill>
              <a:schemeClr val="accent4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pic>
          <p:nvPicPr>
            <p:cNvPr id="10" name="Obrázek 9"/>
            <p:cNvPicPr>
              <a:picLocks/>
            </p:cNvPicPr>
            <p:nvPr/>
          </p:nvPicPr>
          <p:blipFill rotWithShape="1">
            <a:blip r:embed="rId4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212" r="19371"/>
            <a:stretch/>
          </p:blipFill>
          <p:spPr>
            <a:xfrm>
              <a:off x="815459" y="3066829"/>
              <a:ext cx="1245600" cy="1245600"/>
            </a:xfrm>
            <a:prstGeom prst="ellipse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56E8522-8431-43D5-AC6E-009025305309}"/>
              </a:ext>
            </a:extLst>
          </p:cNvPr>
          <p:cNvGrpSpPr/>
          <p:nvPr/>
        </p:nvGrpSpPr>
        <p:grpSpPr>
          <a:xfrm>
            <a:off x="7190393" y="2946858"/>
            <a:ext cx="1393150" cy="1393150"/>
            <a:chOff x="7342793" y="3895509"/>
            <a:chExt cx="1393150" cy="1393150"/>
          </a:xfrm>
        </p:grpSpPr>
        <p:sp>
          <p:nvSpPr>
            <p:cNvPr id="29" name="Teardrop 28">
              <a:extLst>
                <a:ext uri="{FF2B5EF4-FFF2-40B4-BE49-F238E27FC236}">
                  <a16:creationId xmlns:a16="http://schemas.microsoft.com/office/drawing/2014/main" id="{8C6D4A63-E676-45F8-ABFA-C7C9846E4283}"/>
                </a:ext>
              </a:extLst>
            </p:cNvPr>
            <p:cNvSpPr/>
            <p:nvPr/>
          </p:nvSpPr>
          <p:spPr>
            <a:xfrm rot="18900000" flipH="1">
              <a:off x="7342793" y="3895509"/>
              <a:ext cx="1393150" cy="1393150"/>
            </a:xfrm>
            <a:prstGeom prst="teardrop">
              <a:avLst/>
            </a:prstGeom>
            <a:solidFill>
              <a:schemeClr val="accent4"/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pic>
          <p:nvPicPr>
            <p:cNvPr id="12" name="Obrázek 11"/>
            <p:cNvPicPr>
              <a:picLocks/>
            </p:cNvPicPr>
            <p:nvPr/>
          </p:nvPicPr>
          <p:blipFill rotWithShape="1">
            <a:blip r:embed="rId5"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711"/>
            <a:stretch/>
          </p:blipFill>
          <p:spPr>
            <a:xfrm>
              <a:off x="7416568" y="3969284"/>
              <a:ext cx="1245600" cy="1245600"/>
            </a:xfrm>
            <a:prstGeom prst="ellipse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03965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text 1"/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 anchor="b"/>
          <a:lstStyle/>
          <a:p>
            <a:r>
              <a:rPr lang="cs-CZ" dirty="0" smtClean="0">
                <a:latin typeface="Gotham Rounded Book" pitchFamily="50" charset="-18"/>
              </a:rPr>
              <a:t>IoT </a:t>
            </a:r>
            <a:r>
              <a:rPr lang="cs-CZ" dirty="0">
                <a:latin typeface="Gotham Rounded Book" pitchFamily="50" charset="-18"/>
              </a:rPr>
              <a:t>z pohledu zastřešující entity / poskytovatele</a:t>
            </a:r>
            <a:endParaRPr lang="en-US" dirty="0">
              <a:latin typeface="Gotham Rounded Book" pitchFamily="50" charset="-18"/>
            </a:endParaRPr>
          </a:p>
        </p:txBody>
      </p:sp>
      <p:sp>
        <p:nvSpPr>
          <p:cNvPr id="8" name="TextovéPole 7"/>
          <p:cNvSpPr txBox="1"/>
          <p:nvPr/>
        </p:nvSpPr>
        <p:spPr>
          <a:xfrm>
            <a:off x="755576" y="1788133"/>
            <a:ext cx="266429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tx2"/>
                </a:solidFill>
                <a:latin typeface="Gotham Rounded Book" pitchFamily="50" charset="-18"/>
              </a:defRPr>
            </a:lvl1pPr>
          </a:lstStyle>
          <a:p>
            <a:pPr algn="ctr"/>
            <a:r>
              <a:rPr lang="cs-CZ" sz="2000" dirty="0"/>
              <a:t>Řízení ekosystému </a:t>
            </a:r>
            <a:endParaRPr lang="en-US" sz="2000" dirty="0"/>
          </a:p>
          <a:p>
            <a:pPr algn="ctr"/>
            <a:endParaRPr lang="en-US" sz="2000" dirty="0"/>
          </a:p>
          <a:p>
            <a:pPr algn="ctr"/>
            <a:r>
              <a:rPr lang="cs-CZ" sz="2000" dirty="0"/>
              <a:t>dlouhodobá koncepce rozvoje</a:t>
            </a:r>
            <a:endParaRPr lang="en-US" sz="2000" dirty="0"/>
          </a:p>
        </p:txBody>
      </p:sp>
      <p:sp>
        <p:nvSpPr>
          <p:cNvPr id="9" name="TextovéPole 8"/>
          <p:cNvSpPr txBox="1"/>
          <p:nvPr/>
        </p:nvSpPr>
        <p:spPr>
          <a:xfrm>
            <a:off x="5466440" y="1692176"/>
            <a:ext cx="329165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tx2"/>
                </a:solidFill>
                <a:latin typeface="Gotham Rounded Book" pitchFamily="50" charset="-18"/>
              </a:defRPr>
            </a:lvl1pPr>
          </a:lstStyle>
          <a:p>
            <a:pPr algn="ctr"/>
            <a:r>
              <a:rPr lang="cs-CZ" dirty="0"/>
              <a:t>Podpora bezpečnosti, komfortního života občanů 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a</a:t>
            </a:r>
            <a:r>
              <a:rPr lang="cs-CZ" dirty="0"/>
              <a:t> výzkumu, podnikání </a:t>
            </a:r>
            <a:r>
              <a:rPr lang="en-US" dirty="0"/>
              <a:t/>
            </a:r>
            <a:br>
              <a:rPr lang="en-US" dirty="0"/>
            </a:br>
            <a:r>
              <a:rPr lang="cs-CZ" dirty="0"/>
              <a:t>a ekonomiky v kraji</a:t>
            </a:r>
            <a:endParaRPr lang="en-US" dirty="0"/>
          </a:p>
        </p:txBody>
      </p:sp>
      <p:pic>
        <p:nvPicPr>
          <p:cNvPr id="10" name="Obrázek 9"/>
          <p:cNvPicPr>
            <a:picLocks noChangeAspect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3510" y="1386325"/>
            <a:ext cx="1736980" cy="2409360"/>
          </a:xfrm>
          <a:prstGeom prst="rect">
            <a:avLst/>
          </a:prstGeom>
        </p:spPr>
      </p:pic>
      <p:sp>
        <p:nvSpPr>
          <p:cNvPr id="12" name="Obdélník 11"/>
          <p:cNvSpPr/>
          <p:nvPr/>
        </p:nvSpPr>
        <p:spPr>
          <a:xfrm>
            <a:off x="5466441" y="3175780"/>
            <a:ext cx="32916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>
                <a:solidFill>
                  <a:schemeClr val="tx2"/>
                </a:solidFill>
                <a:latin typeface="Gotham Rounded Book" pitchFamily="50" charset="-18"/>
              </a:rPr>
              <a:t>= spokojený občan</a:t>
            </a:r>
          </a:p>
        </p:txBody>
      </p:sp>
    </p:spTree>
    <p:extLst>
      <p:ext uri="{BB962C8B-B14F-4D97-AF65-F5344CB8AC3E}">
        <p14:creationId xmlns:p14="http://schemas.microsoft.com/office/powerpoint/2010/main" val="2047191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Zástupný symbol pro text 2">
            <a:extLst>
              <a:ext uri="{FF2B5EF4-FFF2-40B4-BE49-F238E27FC236}">
                <a16:creationId xmlns:a16="http://schemas.microsoft.com/office/drawing/2014/main" id="{36AB2AFE-959C-4D21-9578-6B0B38A07E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>
                <a:latin typeface="Gotham Rounded Book" pitchFamily="50" charset="-18"/>
              </a:rPr>
              <a:t>Proč</a:t>
            </a:r>
            <a:r>
              <a:rPr lang="en-US" dirty="0">
                <a:latin typeface="Gotham Rounded Book" pitchFamily="50" charset="-18"/>
              </a:rPr>
              <a:t> se IoT </a:t>
            </a:r>
            <a:r>
              <a:rPr lang="en-US" dirty="0" err="1">
                <a:latin typeface="Gotham Rounded Book" pitchFamily="50" charset="-18"/>
              </a:rPr>
              <a:t>věnuje</a:t>
            </a:r>
            <a:r>
              <a:rPr lang="en-US" dirty="0">
                <a:latin typeface="Gotham Rounded Book" pitchFamily="50" charset="-18"/>
              </a:rPr>
              <a:t> </a:t>
            </a:r>
            <a:r>
              <a:rPr lang="en-US" dirty="0" err="1">
                <a:latin typeface="Gotham Rounded Book" pitchFamily="50" charset="-18"/>
              </a:rPr>
              <a:t>naše</a:t>
            </a:r>
            <a:r>
              <a:rPr lang="en-US" dirty="0">
                <a:latin typeface="Gotham Rounded Book" pitchFamily="50" charset="-18"/>
              </a:rPr>
              <a:t> </a:t>
            </a:r>
            <a:r>
              <a:rPr lang="en-US" dirty="0" err="1">
                <a:latin typeface="Gotham Rounded Book" pitchFamily="50" charset="-18"/>
              </a:rPr>
              <a:t>společnost</a:t>
            </a:r>
            <a:r>
              <a:rPr lang="en-US" dirty="0">
                <a:latin typeface="Gotham Rounded Book" pitchFamily="50" charset="-18"/>
              </a:rPr>
              <a:t>?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781653A8-6233-4AE2-B145-A577769D66AF}"/>
              </a:ext>
            </a:extLst>
          </p:cNvPr>
          <p:cNvSpPr txBox="1">
            <a:spLocks/>
          </p:cNvSpPr>
          <p:nvPr/>
        </p:nvSpPr>
        <p:spPr>
          <a:xfrm>
            <a:off x="387002" y="2283598"/>
            <a:ext cx="2025264" cy="2110645"/>
          </a:xfrm>
          <a:prstGeom prst="rect">
            <a:avLst/>
          </a:prstGeom>
        </p:spPr>
        <p:txBody>
          <a:bodyPr/>
          <a:lstStyle>
            <a:lvl1pPr marL="256892" indent="-256892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15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1pPr>
            <a:lvl2pPr marL="556599" indent="-214076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12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2pPr>
            <a:lvl3pPr marL="856304" indent="-171261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10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3pPr>
            <a:lvl4pPr marL="1198828" indent="-171261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9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4pPr>
            <a:lvl5pPr marL="1541350" indent="-171261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7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5pPr>
            <a:lvl6pPr marL="1883871" indent="-171261" algn="l" defTabSz="34252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6394" indent="-171261" algn="l" defTabSz="34252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8916" indent="-171261" algn="l" defTabSz="34252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1437" indent="-171261" algn="l" defTabSz="34252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Tx/>
              <a:buNone/>
              <a:tabLst/>
              <a:defRPr/>
            </a:pPr>
            <a:r>
              <a:rPr kumimoji="0" lang="cs-CZ" sz="1500" b="1" i="0" u="none" strike="noStrike" kern="1200" cap="none" spc="0" normalizeH="0" baseline="0" noProof="0" dirty="0">
                <a:ln>
                  <a:noFill/>
                </a:ln>
                <a:solidFill>
                  <a:srgbClr val="F99D1C"/>
                </a:solidFill>
                <a:effectLst/>
                <a:uLnTx/>
                <a:uFillTx/>
                <a:latin typeface="Gotham Rounded Book" pitchFamily="50" charset="-18"/>
              </a:rPr>
              <a:t>ICT</a:t>
            </a:r>
          </a:p>
          <a:p>
            <a:pPr marL="256892" marR="0" lvl="0" indent="-256892" algn="l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 typeface="Webdings" panose="05030102010509060703" pitchFamily="18" charset="2"/>
              <a:buChar char=""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Provozujeme své servery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/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</a:b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v datovém centru</a:t>
            </a:r>
          </a:p>
          <a:p>
            <a:pPr marL="256892" marR="0" lvl="0" indent="-256892" algn="l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 typeface="Webdings" panose="05030102010509060703" pitchFamily="18" charset="2"/>
              <a:buChar char=""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Zabezpečte své firemní IT před výpadkem</a:t>
            </a:r>
          </a:p>
          <a:p>
            <a:pPr marL="256892" marR="0" lvl="0" indent="-256892" algn="l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 typeface="Webdings" panose="05030102010509060703" pitchFamily="18" charset="2"/>
              <a:buChar char=""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Zálohujte firemní data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/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</a:b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v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cloudu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FCE1BD"/>
              </a:solidFill>
              <a:effectLst/>
              <a:uLnTx/>
              <a:uFillTx/>
              <a:latin typeface="Gotham Rounded Book" pitchFamily="50" charset="-18"/>
            </a:endParaRPr>
          </a:p>
          <a:p>
            <a:pPr marL="256892" marR="0" lvl="0" indent="-256892" algn="l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 typeface="Webdings" panose="05030102010509060703" pitchFamily="18" charset="2"/>
              <a:buChar char=""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Infrastruktura pro dynamické weby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8F8AAD8F-2B5E-45A6-9EF2-5A50623DFC64}"/>
              </a:ext>
            </a:extLst>
          </p:cNvPr>
          <p:cNvSpPr txBox="1">
            <a:spLocks/>
          </p:cNvSpPr>
          <p:nvPr/>
        </p:nvSpPr>
        <p:spPr>
          <a:xfrm>
            <a:off x="6732830" y="2283598"/>
            <a:ext cx="2025264" cy="2110645"/>
          </a:xfrm>
          <a:prstGeom prst="rect">
            <a:avLst/>
          </a:prstGeom>
        </p:spPr>
        <p:txBody>
          <a:bodyPr/>
          <a:lstStyle>
            <a:lvl1pPr marL="256892" indent="-256892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15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1pPr>
            <a:lvl2pPr marL="556599" indent="-214076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12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2pPr>
            <a:lvl3pPr marL="856304" indent="-171261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10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3pPr>
            <a:lvl4pPr marL="1198828" indent="-171261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9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4pPr>
            <a:lvl5pPr marL="1541350" indent="-171261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7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5pPr>
            <a:lvl6pPr marL="1883871" indent="-171261" algn="l" defTabSz="34252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6394" indent="-171261" algn="l" defTabSz="34252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8916" indent="-171261" algn="l" defTabSz="34252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1437" indent="-171261" algn="l" defTabSz="34252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Tx/>
              <a:buNone/>
              <a:tabLst/>
              <a:defRPr/>
            </a:pPr>
            <a:r>
              <a:rPr kumimoji="0" lang="cs-CZ" sz="1500" b="1" i="0" u="none" strike="noStrike" kern="1200" cap="none" spc="0" normalizeH="0" baseline="0" noProof="0" dirty="0">
                <a:ln>
                  <a:noFill/>
                </a:ln>
                <a:solidFill>
                  <a:srgbClr val="F99D1C"/>
                </a:solidFill>
                <a:effectLst/>
                <a:uLnTx/>
                <a:uFillTx/>
                <a:latin typeface="Gotham Rounded Book" pitchFamily="50" charset="-18"/>
              </a:rPr>
              <a:t>IOT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99D1C"/>
              </a:solidFill>
              <a:effectLst/>
              <a:uLnTx/>
              <a:uFillTx/>
              <a:latin typeface="Gotham Rounded Book" pitchFamily="50" charset="-18"/>
            </a:endParaRPr>
          </a:p>
          <a:p>
            <a:pPr marL="256892" marR="0" lvl="0" indent="-256892" algn="l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 typeface="Webdings" panose="05030102010509060703" pitchFamily="18" charset="2"/>
              <a:buChar char=""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Využijte síť pro Internet věcí (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IoT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)</a:t>
            </a:r>
          </a:p>
          <a:p>
            <a:pPr marL="256892" marR="0" lvl="0" indent="-256892" algn="l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 typeface="Webdings" panose="05030102010509060703" pitchFamily="18" charset="2"/>
              <a:buChar char=""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Podnikejte chytře díky technologii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LoRaWAN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FCE1BD"/>
              </a:solidFill>
              <a:effectLst/>
              <a:uLnTx/>
              <a:uFillTx/>
              <a:latin typeface="Gotham Rounded Book" pitchFamily="50" charset="-18"/>
            </a:endParaRPr>
          </a:p>
          <a:p>
            <a:pPr marL="256892" marR="0" lvl="0" indent="-256892" algn="l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 typeface="Webdings" panose="05030102010509060703" pitchFamily="18" charset="2"/>
              <a:buChar char=""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Staňte se </a:t>
            </a:r>
            <a:r>
              <a:rPr kumimoji="0" lang="cs-CZ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naším 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IoT partnerem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546E11CE-18B9-4A9D-B758-66B80FF48319}"/>
              </a:ext>
            </a:extLst>
          </p:cNvPr>
          <p:cNvSpPr txBox="1">
            <a:spLocks/>
          </p:cNvSpPr>
          <p:nvPr/>
        </p:nvSpPr>
        <p:spPr>
          <a:xfrm>
            <a:off x="2502278" y="2283598"/>
            <a:ext cx="2025264" cy="2110645"/>
          </a:xfrm>
          <a:prstGeom prst="rect">
            <a:avLst/>
          </a:prstGeom>
        </p:spPr>
        <p:txBody>
          <a:bodyPr/>
          <a:lstStyle>
            <a:lvl1pPr marL="256892" indent="-256892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15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1pPr>
            <a:lvl2pPr marL="556599" indent="-214076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12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2pPr>
            <a:lvl3pPr marL="856304" indent="-171261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10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3pPr>
            <a:lvl4pPr marL="1198828" indent="-171261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9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4pPr>
            <a:lvl5pPr marL="1541350" indent="-171261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7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5pPr>
            <a:lvl6pPr marL="1883871" indent="-171261" algn="l" defTabSz="34252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6394" indent="-171261" algn="l" defTabSz="34252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8916" indent="-171261" algn="l" defTabSz="34252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1437" indent="-171261" algn="l" defTabSz="34252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Tx/>
              <a:buNone/>
              <a:tabLst/>
              <a:defRPr/>
            </a:pPr>
            <a:r>
              <a:rPr kumimoji="0" lang="cs-CZ" sz="1500" b="1" i="0" u="none" strike="noStrike" kern="1200" cap="none" spc="0" normalizeH="0" baseline="0" noProof="0" dirty="0">
                <a:ln>
                  <a:noFill/>
                </a:ln>
                <a:solidFill>
                  <a:srgbClr val="F99D1C"/>
                </a:solidFill>
                <a:effectLst/>
                <a:uLnTx/>
                <a:uFillTx/>
                <a:latin typeface="Gotham Rounded Book" pitchFamily="50" charset="-18"/>
              </a:rPr>
              <a:t>MÉDIA</a:t>
            </a: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F99D1C"/>
              </a:solidFill>
              <a:effectLst/>
              <a:uLnTx/>
              <a:uFillTx/>
              <a:latin typeface="Gotham Rounded Book" pitchFamily="50" charset="-18"/>
            </a:endParaRPr>
          </a:p>
          <a:p>
            <a:pPr marL="256892" marR="0" lvl="0" indent="-256892" algn="l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 typeface="Webdings" panose="05030102010509060703" pitchFamily="18" charset="2"/>
              <a:buChar char=""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Vysílejte TV a rozhlasové programy</a:t>
            </a:r>
          </a:p>
          <a:p>
            <a:pPr marL="256892" marR="0" lvl="0" indent="-256892" algn="l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 typeface="Webdings" panose="05030102010509060703" pitchFamily="18" charset="2"/>
              <a:buChar char=""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Propojte TV vysílání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/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</a:b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s internetem</a:t>
            </a:r>
          </a:p>
          <a:p>
            <a:pPr marL="256892" marR="0" lvl="0" indent="-256892" algn="l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 typeface="Webdings" panose="05030102010509060703" pitchFamily="18" charset="2"/>
              <a:buChar char=""/>
              <a:tabLst/>
              <a:defRPr/>
            </a:pP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Streamujte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 svůj </a:t>
            </a:r>
            <a:r>
              <a:rPr kumimoji="0" lang="cs-CZ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videoobsah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FCE1BD"/>
              </a:solidFill>
              <a:effectLst/>
              <a:uLnTx/>
              <a:uFillTx/>
              <a:latin typeface="Gotham Rounded Book" pitchFamily="50" charset="-18"/>
            </a:endParaRPr>
          </a:p>
          <a:p>
            <a:pPr marL="256892" marR="0" lvl="0" indent="-256892" algn="l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 typeface="Webdings" panose="05030102010509060703" pitchFamily="18" charset="2"/>
              <a:buChar char=""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Vysokokapacitní síť pro multimediální obsah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4DD71F97-977D-42BD-BDE0-0A0D03533B29}"/>
              </a:ext>
            </a:extLst>
          </p:cNvPr>
          <p:cNvSpPr txBox="1">
            <a:spLocks/>
          </p:cNvSpPr>
          <p:nvPr/>
        </p:nvSpPr>
        <p:spPr>
          <a:xfrm>
            <a:off x="4617554" y="2283598"/>
            <a:ext cx="2115276" cy="2110645"/>
          </a:xfrm>
          <a:prstGeom prst="rect">
            <a:avLst/>
          </a:prstGeom>
        </p:spPr>
        <p:txBody>
          <a:bodyPr/>
          <a:lstStyle>
            <a:lvl1pPr marL="256892" indent="-256892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15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1pPr>
            <a:lvl2pPr marL="556599" indent="-214076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12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2pPr>
            <a:lvl3pPr marL="856304" indent="-171261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10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3pPr>
            <a:lvl4pPr marL="1198828" indent="-171261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9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4pPr>
            <a:lvl5pPr marL="1541350" indent="-171261" algn="l" defTabSz="342523" rtl="0" eaLnBrk="1" latinLnBrk="0" hangingPunct="1">
              <a:spcBef>
                <a:spcPct val="20000"/>
              </a:spcBef>
              <a:buClr>
                <a:schemeClr val="accent6"/>
              </a:buClr>
              <a:buSzPct val="100000"/>
              <a:buFontTx/>
              <a:buBlip>
                <a:blip r:embed="rId3"/>
              </a:buBlip>
              <a:defRPr sz="700" kern="1200" baseline="0">
                <a:solidFill>
                  <a:schemeClr val="accent3"/>
                </a:solidFill>
                <a:latin typeface="Arial"/>
                <a:ea typeface="+mn-ea"/>
                <a:cs typeface="+mn-cs"/>
              </a:defRPr>
            </a:lvl5pPr>
            <a:lvl6pPr marL="1883871" indent="-171261" algn="l" defTabSz="34252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6394" indent="-171261" algn="l" defTabSz="34252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8916" indent="-171261" algn="l" defTabSz="34252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1437" indent="-171261" algn="l" defTabSz="34252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Tx/>
              <a:buNone/>
              <a:tabLst/>
              <a:defRPr/>
            </a:pPr>
            <a:r>
              <a:rPr kumimoji="0" lang="cs-CZ" sz="1500" b="1" i="0" u="none" strike="noStrike" kern="1200" cap="none" spc="0" normalizeH="0" baseline="0" noProof="0" dirty="0">
                <a:ln>
                  <a:noFill/>
                </a:ln>
                <a:solidFill>
                  <a:srgbClr val="F99D1C"/>
                </a:solidFill>
                <a:effectLst/>
                <a:uLnTx/>
                <a:uFillTx/>
                <a:latin typeface="Gotham Rounded Book" pitchFamily="50" charset="-18"/>
              </a:rPr>
              <a:t>INFRASTRUKTURA</a:t>
            </a: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rgbClr val="F99D1C"/>
              </a:solidFill>
              <a:effectLst/>
              <a:uLnTx/>
              <a:uFillTx/>
              <a:latin typeface="Gotham Rounded Book" pitchFamily="50" charset="-18"/>
            </a:endParaRPr>
          </a:p>
          <a:p>
            <a:pPr marL="256892" marR="0" lvl="0" indent="-256892" algn="l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 typeface="Webdings" panose="05030102010509060703" pitchFamily="18" charset="2"/>
              <a:buChar char=""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Umístěte své zařízení na vysílač</a:t>
            </a:r>
          </a:p>
          <a:p>
            <a:pPr marL="256892" marR="0" lvl="0" indent="-256892" algn="l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 typeface="Webdings" panose="05030102010509060703" pitchFamily="18" charset="2"/>
              <a:buChar char=""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Rozšiřte oblast pokrytí svým signálem</a:t>
            </a:r>
          </a:p>
          <a:p>
            <a:pPr marL="256892" marR="0" lvl="0" indent="-256892" algn="l" defTabSz="3425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rgbClr val="F99D1C"/>
              </a:buClr>
              <a:buSzPct val="100000"/>
              <a:buFont typeface="Webdings" panose="05030102010509060703" pitchFamily="18" charset="2"/>
              <a:buChar char=""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Propojte garantovaně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vzdálené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 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FCE1BD"/>
                </a:solidFill>
                <a:effectLst/>
                <a:uLnTx/>
                <a:uFillTx/>
                <a:latin typeface="Gotham Rounded Book" pitchFamily="50" charset="-18"/>
              </a:rPr>
              <a:t>lokality</a:t>
            </a:r>
          </a:p>
        </p:txBody>
      </p:sp>
      <p:pic>
        <p:nvPicPr>
          <p:cNvPr id="36" name="Obrázek 10">
            <a:extLst>
              <a:ext uri="{FF2B5EF4-FFF2-40B4-BE49-F238E27FC236}">
                <a16:creationId xmlns:a16="http://schemas.microsoft.com/office/drawing/2014/main" id="{D4C00ED8-CF11-4FCA-A120-4F4273FB9752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4910" y="987574"/>
            <a:ext cx="1080000" cy="108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7" name="Obrázek 2">
            <a:extLst>
              <a:ext uri="{FF2B5EF4-FFF2-40B4-BE49-F238E27FC236}">
                <a16:creationId xmlns:a16="http://schemas.microsoft.com/office/drawing/2014/main" id="{FAAF3DFA-2391-4DBC-9265-FF2481C5B3B6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634" y="987574"/>
            <a:ext cx="1080000" cy="108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1" name="Obrázek 9">
            <a:extLst>
              <a:ext uri="{FF2B5EF4-FFF2-40B4-BE49-F238E27FC236}">
                <a16:creationId xmlns:a16="http://schemas.microsoft.com/office/drawing/2014/main" id="{281EEEAE-9EEC-4FE7-9F8C-6B83AD2330A9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0186" y="987574"/>
            <a:ext cx="1080000" cy="108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2" name="Obrázek 1">
            <a:extLst>
              <a:ext uri="{FF2B5EF4-FFF2-40B4-BE49-F238E27FC236}">
                <a16:creationId xmlns:a16="http://schemas.microsoft.com/office/drawing/2014/main" id="{F698D3E0-4484-4B75-883C-5E4FC4DC14A6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5462" y="987574"/>
            <a:ext cx="1080000" cy="1080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41479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_CRA_O spolecnosti_1609">
  <a:themeElements>
    <a:clrScheme name="CRa">
      <a:dk1>
        <a:srgbClr val="293133"/>
      </a:dk1>
      <a:lt1>
        <a:sysClr val="window" lastClr="FFFFFF"/>
      </a:lt1>
      <a:dk2>
        <a:srgbClr val="F99D1C"/>
      </a:dk2>
      <a:lt2>
        <a:srgbClr val="FFFFFF"/>
      </a:lt2>
      <a:accent1>
        <a:srgbClr val="FAB964"/>
      </a:accent1>
      <a:accent2>
        <a:srgbClr val="686F71"/>
      </a:accent2>
      <a:accent3>
        <a:srgbClr val="FCE1BD"/>
      </a:accent3>
      <a:accent4>
        <a:srgbClr val="BFC3C3"/>
      </a:accent4>
      <a:accent5>
        <a:srgbClr val="8C1919"/>
      </a:accent5>
      <a:accent6>
        <a:srgbClr val="F99D1C"/>
      </a:accent6>
      <a:hlink>
        <a:srgbClr val="293133"/>
      </a:hlink>
      <a:folHlink>
        <a:srgbClr val="F99D1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1_CRA_PPT template 16x9_TLP.potx" id="{7A227D1F-5DB9-49EB-949D-ED17409016C0}" vid="{3D95E20F-9313-4BBD-B5B0-8B6C7FA60F5E}"/>
    </a:ext>
  </a:extLst>
</a:theme>
</file>

<file path=ppt/theme/theme2.xml><?xml version="1.0" encoding="utf-8"?>
<a:theme xmlns:a="http://schemas.openxmlformats.org/drawingml/2006/main" name="3_Cover Pages">
  <a:themeElements>
    <a:clrScheme name="CRa">
      <a:dk1>
        <a:srgbClr val="293133"/>
      </a:dk1>
      <a:lt1>
        <a:sysClr val="window" lastClr="FFFFFF"/>
      </a:lt1>
      <a:dk2>
        <a:srgbClr val="F99D1C"/>
      </a:dk2>
      <a:lt2>
        <a:srgbClr val="FFFFFF"/>
      </a:lt2>
      <a:accent1>
        <a:srgbClr val="FAB964"/>
      </a:accent1>
      <a:accent2>
        <a:srgbClr val="686F71"/>
      </a:accent2>
      <a:accent3>
        <a:srgbClr val="FCE1BD"/>
      </a:accent3>
      <a:accent4>
        <a:srgbClr val="BFC3C3"/>
      </a:accent4>
      <a:accent5>
        <a:srgbClr val="8C1919"/>
      </a:accent5>
      <a:accent6>
        <a:srgbClr val="F99D1C"/>
      </a:accent6>
      <a:hlink>
        <a:srgbClr val="293133"/>
      </a:hlink>
      <a:folHlink>
        <a:srgbClr val="F99D1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1_CRA_PPT template 16x9_TLP.potx" id="{7A227D1F-5DB9-49EB-949D-ED17409016C0}" vid="{134299B7-3F1B-47AE-AF12-4AF7415A1E72}"/>
    </a:ext>
  </a:extLst>
</a:theme>
</file>

<file path=ppt/theme/theme3.xml><?xml version="1.0" encoding="utf-8"?>
<a:theme xmlns:a="http://schemas.openxmlformats.org/drawingml/2006/main" name="1_Content">
  <a:themeElements>
    <a:clrScheme name="CRa">
      <a:dk1>
        <a:srgbClr val="293133"/>
      </a:dk1>
      <a:lt1>
        <a:sysClr val="window" lastClr="FFFFFF"/>
      </a:lt1>
      <a:dk2>
        <a:srgbClr val="F99D1C"/>
      </a:dk2>
      <a:lt2>
        <a:srgbClr val="FFFFFF"/>
      </a:lt2>
      <a:accent1>
        <a:srgbClr val="FAB964"/>
      </a:accent1>
      <a:accent2>
        <a:srgbClr val="686F71"/>
      </a:accent2>
      <a:accent3>
        <a:srgbClr val="FCE1BD"/>
      </a:accent3>
      <a:accent4>
        <a:srgbClr val="BFC3C3"/>
      </a:accent4>
      <a:accent5>
        <a:srgbClr val="8C1919"/>
      </a:accent5>
      <a:accent6>
        <a:srgbClr val="F99D1C"/>
      </a:accent6>
      <a:hlink>
        <a:srgbClr val="293133"/>
      </a:hlink>
      <a:folHlink>
        <a:srgbClr val="F99D1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prstDash val="sysDot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1_CRA_PPT template 16x9_TLP.potx" id="{7A227D1F-5DB9-49EB-949D-ED17409016C0}" vid="{5F6289A5-39BA-4702-A347-2489AE586BA0}"/>
    </a:ext>
  </a:extLst>
</a:theme>
</file>

<file path=ppt/theme/theme4.xml><?xml version="1.0" encoding="utf-8"?>
<a:theme xmlns:a="http://schemas.openxmlformats.org/drawingml/2006/main" name="4_Cover Pages">
  <a:themeElements>
    <a:clrScheme name="CRa">
      <a:dk1>
        <a:srgbClr val="293133"/>
      </a:dk1>
      <a:lt1>
        <a:sysClr val="window" lastClr="FFFFFF"/>
      </a:lt1>
      <a:dk2>
        <a:srgbClr val="F99D1C"/>
      </a:dk2>
      <a:lt2>
        <a:srgbClr val="FFFFFF"/>
      </a:lt2>
      <a:accent1>
        <a:srgbClr val="FAB964"/>
      </a:accent1>
      <a:accent2>
        <a:srgbClr val="686F71"/>
      </a:accent2>
      <a:accent3>
        <a:srgbClr val="FCE1BD"/>
      </a:accent3>
      <a:accent4>
        <a:srgbClr val="BFC3C3"/>
      </a:accent4>
      <a:accent5>
        <a:srgbClr val="8C1919"/>
      </a:accent5>
      <a:accent6>
        <a:srgbClr val="F99D1C"/>
      </a:accent6>
      <a:hlink>
        <a:srgbClr val="293133"/>
      </a:hlink>
      <a:folHlink>
        <a:srgbClr val="F99D1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1_CRA_PPT template 16x9_TLP.potx" id="{7A227D1F-5DB9-49EB-949D-ED17409016C0}" vid="{57158EAD-CFDF-4399-8DD1-D9625B49855F}"/>
    </a:ext>
  </a:extLst>
</a:theme>
</file>

<file path=ppt/theme/theme5.xml><?xml version="1.0" encoding="utf-8"?>
<a:theme xmlns:a="http://schemas.openxmlformats.org/drawingml/2006/main" name="Conclusion">
  <a:themeElements>
    <a:clrScheme name="CRa">
      <a:dk1>
        <a:srgbClr val="293133"/>
      </a:dk1>
      <a:lt1>
        <a:sysClr val="window" lastClr="FFFFFF"/>
      </a:lt1>
      <a:dk2>
        <a:srgbClr val="F99D1C"/>
      </a:dk2>
      <a:lt2>
        <a:srgbClr val="FFFFFF"/>
      </a:lt2>
      <a:accent1>
        <a:srgbClr val="FAB964"/>
      </a:accent1>
      <a:accent2>
        <a:srgbClr val="686F71"/>
      </a:accent2>
      <a:accent3>
        <a:srgbClr val="FCE1BD"/>
      </a:accent3>
      <a:accent4>
        <a:srgbClr val="BFC3C3"/>
      </a:accent4>
      <a:accent5>
        <a:srgbClr val="8C1919"/>
      </a:accent5>
      <a:accent6>
        <a:srgbClr val="F99D1C"/>
      </a:accent6>
      <a:hlink>
        <a:srgbClr val="293133"/>
      </a:hlink>
      <a:folHlink>
        <a:srgbClr val="F99D1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1_CRA_PPT template 16x9_TLP.potx" id="{7A227D1F-5DB9-49EB-949D-ED17409016C0}" vid="{0E4CA1A2-037E-4AB5-910A-847C833C30D6}"/>
    </a:ext>
  </a:extLst>
</a:theme>
</file>

<file path=ppt/theme/theme6.xml><?xml version="1.0" encoding="utf-8"?>
<a:theme xmlns:a="http://schemas.openxmlformats.org/drawingml/2006/main" name="Content">
  <a:themeElements>
    <a:clrScheme name="CRa">
      <a:dk1>
        <a:srgbClr val="293133"/>
      </a:dk1>
      <a:lt1>
        <a:sysClr val="window" lastClr="FFFFFF"/>
      </a:lt1>
      <a:dk2>
        <a:srgbClr val="F99D1C"/>
      </a:dk2>
      <a:lt2>
        <a:srgbClr val="FFFFFF"/>
      </a:lt2>
      <a:accent1>
        <a:srgbClr val="FAB964"/>
      </a:accent1>
      <a:accent2>
        <a:srgbClr val="686F71"/>
      </a:accent2>
      <a:accent3>
        <a:srgbClr val="FCE1BD"/>
      </a:accent3>
      <a:accent4>
        <a:srgbClr val="BFC3C3"/>
      </a:accent4>
      <a:accent5>
        <a:srgbClr val="8C1919"/>
      </a:accent5>
      <a:accent6>
        <a:srgbClr val="F99D1C"/>
      </a:accent6>
      <a:hlink>
        <a:srgbClr val="293133"/>
      </a:hlink>
      <a:folHlink>
        <a:srgbClr val="F99D1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4F38BF18AF6C14096D43539C24B261F" ma:contentTypeVersion="2" ma:contentTypeDescription="Vytvoří nový dokument" ma:contentTypeScope="" ma:versionID="d63d4b70e305d3f7877a0ff9be5cc050">
  <xsd:schema xmlns:xsd="http://www.w3.org/2001/XMLSchema" xmlns:xs="http://www.w3.org/2001/XMLSchema" xmlns:p="http://schemas.microsoft.com/office/2006/metadata/properties" xmlns:ns2="2c94f345-66a9-4df9-9466-f37e91590d6e" targetNamespace="http://schemas.microsoft.com/office/2006/metadata/properties" ma:root="true" ma:fieldsID="edc9b7fbbdb3d49576075e4f0909126a" ns2:_="">
    <xsd:import namespace="2c94f345-66a9-4df9-9466-f37e91590d6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94f345-66a9-4df9-9466-f37e91590d6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c94f345-66a9-4df9-9466-f37e91590d6e">
      <UserInfo>
        <DisplayName>Hrdlička Tomáš</DisplayName>
        <AccountId>135</AccountId>
        <AccountType/>
      </UserInfo>
      <UserInfo>
        <DisplayName>Škabrada Jan</DisplayName>
        <AccountId>27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E135119-70BC-412F-9E6E-4F940B1D15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94f345-66a9-4df9-9466-f37e91590d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F86DDA5-27AC-47D3-AB58-4D03C042FFB6}">
  <ds:schemaRefs>
    <ds:schemaRef ds:uri="http://schemas.microsoft.com/office/2006/metadata/properties"/>
    <ds:schemaRef ds:uri="2c94f345-66a9-4df9-9466-f37e91590d6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181BCC0-8D34-442E-815E-87E3FEDF193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82</TotalTime>
  <Words>711</Words>
  <Application>Microsoft Office PowerPoint</Application>
  <PresentationFormat>Předvádění na obrazovce (16:9)</PresentationFormat>
  <Paragraphs>160</Paragraphs>
  <Slides>19</Slides>
  <Notes>3</Notes>
  <HiddenSlides>0</HiddenSlides>
  <MMClips>2</MMClips>
  <ScaleCrop>false</ScaleCrop>
  <HeadingPairs>
    <vt:vector size="8" baseType="variant">
      <vt:variant>
        <vt:lpstr>Použitá písma</vt:lpstr>
      </vt:variant>
      <vt:variant>
        <vt:i4>7</vt:i4>
      </vt:variant>
      <vt:variant>
        <vt:lpstr>Motiv</vt:lpstr>
      </vt:variant>
      <vt:variant>
        <vt:i4>6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9</vt:i4>
      </vt:variant>
    </vt:vector>
  </HeadingPairs>
  <TitlesOfParts>
    <vt:vector size="33" baseType="lpstr">
      <vt:lpstr>Arial</vt:lpstr>
      <vt:lpstr>Calibri</vt:lpstr>
      <vt:lpstr>Century Gothic</vt:lpstr>
      <vt:lpstr>Gotham Rounded Bold</vt:lpstr>
      <vt:lpstr>Gotham Rounded Book</vt:lpstr>
      <vt:lpstr>굴림</vt:lpstr>
      <vt:lpstr>Webdings</vt:lpstr>
      <vt:lpstr>2019_CRA_O spolecnosti_1609</vt:lpstr>
      <vt:lpstr>3_Cover Pages</vt:lpstr>
      <vt:lpstr>1_Content</vt:lpstr>
      <vt:lpstr>4_Cover Pages</vt:lpstr>
      <vt:lpstr>Conclusion</vt:lpstr>
      <vt:lpstr>Content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Jak přistupujeme k trhu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ěkujeme za pozornost  Více informací a speciální akce na stánku</vt:lpstr>
    </vt:vector>
  </TitlesOfParts>
  <Company>České Radiokomunikace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tr Malík</dc:creator>
  <cp:lastModifiedBy>Škabrada Jan</cp:lastModifiedBy>
  <cp:revision>184</cp:revision>
  <cp:lastPrinted>2019-04-04T10:39:47Z</cp:lastPrinted>
  <dcterms:created xsi:type="dcterms:W3CDTF">2020-02-27T05:43:05Z</dcterms:created>
  <dcterms:modified xsi:type="dcterms:W3CDTF">2022-06-14T10:3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F38BF18AF6C14096D43539C24B261F</vt:lpwstr>
  </property>
</Properties>
</file>